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</p:sldMasterIdLst>
  <p:sldIdLst>
    <p:sldId id="324" r:id="rId5"/>
    <p:sldId id="615" r:id="rId6"/>
    <p:sldId id="662" r:id="rId7"/>
    <p:sldId id="260" r:id="rId8"/>
    <p:sldId id="262" r:id="rId9"/>
    <p:sldId id="261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1" r:id="rId19"/>
    <p:sldId id="272" r:id="rId20"/>
    <p:sldId id="273" r:id="rId21"/>
    <p:sldId id="275" r:id="rId22"/>
    <p:sldId id="276" r:id="rId23"/>
    <p:sldId id="277" r:id="rId24"/>
    <p:sldId id="278" r:id="rId25"/>
    <p:sldId id="279" r:id="rId26"/>
    <p:sldId id="282" r:id="rId27"/>
    <p:sldId id="280" r:id="rId28"/>
    <p:sldId id="281" r:id="rId29"/>
    <p:sldId id="283" r:id="rId30"/>
    <p:sldId id="284" r:id="rId31"/>
    <p:sldId id="285" r:id="rId32"/>
    <p:sldId id="286" r:id="rId33"/>
    <p:sldId id="287" r:id="rId34"/>
    <p:sldId id="288" r:id="rId35"/>
    <p:sldId id="289" r:id="rId36"/>
    <p:sldId id="290" r:id="rId37"/>
    <p:sldId id="297" r:id="rId38"/>
    <p:sldId id="298" r:id="rId39"/>
    <p:sldId id="663" r:id="rId40"/>
    <p:sldId id="291" r:id="rId41"/>
    <p:sldId id="292" r:id="rId42"/>
    <p:sldId id="293" r:id="rId43"/>
    <p:sldId id="294" r:id="rId44"/>
    <p:sldId id="295" r:id="rId45"/>
    <p:sldId id="296" r:id="rId46"/>
    <p:sldId id="299" r:id="rId47"/>
    <p:sldId id="300" r:id="rId48"/>
    <p:sldId id="301" r:id="rId49"/>
    <p:sldId id="302" r:id="rId50"/>
    <p:sldId id="303" r:id="rId51"/>
    <p:sldId id="304" r:id="rId52"/>
    <p:sldId id="305" r:id="rId53"/>
    <p:sldId id="306" r:id="rId54"/>
    <p:sldId id="665" r:id="rId55"/>
    <p:sldId id="307" r:id="rId56"/>
    <p:sldId id="308" r:id="rId57"/>
    <p:sldId id="309" r:id="rId58"/>
    <p:sldId id="310" r:id="rId59"/>
    <p:sldId id="311" r:id="rId60"/>
    <p:sldId id="312" r:id="rId61"/>
    <p:sldId id="313" r:id="rId62"/>
    <p:sldId id="314" r:id="rId63"/>
    <p:sldId id="320" r:id="rId64"/>
    <p:sldId id="316" r:id="rId65"/>
    <p:sldId id="317" r:id="rId66"/>
    <p:sldId id="318" r:id="rId67"/>
    <p:sldId id="666" r:id="rId68"/>
    <p:sldId id="319" r:id="rId69"/>
    <p:sldId id="315" r:id="rId70"/>
    <p:sldId id="257" r:id="rId71"/>
    <p:sldId id="258" r:id="rId72"/>
    <p:sldId id="259" r:id="rId73"/>
    <p:sldId id="321" r:id="rId74"/>
    <p:sldId id="323" r:id="rId75"/>
    <p:sldId id="664" r:id="rId76"/>
    <p:sldId id="667" r:id="rId77"/>
  </p:sldIdLst>
  <p:sldSz cx="12192000" cy="6858000"/>
  <p:notesSz cx="6858000" cy="9144000"/>
  <p:embeddedFontLst>
    <p:embeddedFont>
      <p:font typeface="Arial Nova" panose="020B0504020202020204" pitchFamily="34" charset="0"/>
      <p:regular r:id="rId78"/>
      <p:bold r:id="rId79"/>
      <p:italic r:id="rId80"/>
      <p:boldItalic r:id="rId81"/>
    </p:embeddedFont>
    <p:embeddedFont>
      <p:font typeface="Calibri" panose="020F0502020204030204" pitchFamily="34" charset="0"/>
      <p:regular r:id="rId82"/>
      <p:bold r:id="rId83"/>
      <p:italic r:id="rId84"/>
      <p:boldItalic r:id="rId85"/>
    </p:embeddedFont>
    <p:embeddedFont>
      <p:font typeface="Calibri Light" panose="020F0302020204030204" pitchFamily="34" charset="0"/>
      <p:regular r:id="rId86"/>
      <p:italic r:id="rId87"/>
    </p:embeddedFont>
    <p:embeddedFont>
      <p:font typeface="Segoe UI" panose="020B0502040204020203" pitchFamily="34" charset="0"/>
      <p:regular r:id="rId88"/>
      <p:bold r:id="rId89"/>
      <p:italic r:id="rId90"/>
      <p:boldItalic r:id="rId91"/>
    </p:embeddedFont>
  </p:embeddedFontLst>
  <p:photoAlbum/>
  <p:custDataLst>
    <p:tags r:id="rId92"/>
  </p:custDataLst>
  <p:defaultTextStyle>
    <a:defPPr>
      <a:defRPr lang="en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82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42CDDCC-F31B-4767-A491-CE6102B56722}" v="2" dt="2022-04-29T09:36:11.71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23"/>
    <p:restoredTop sz="94674"/>
  </p:normalViewPr>
  <p:slideViewPr>
    <p:cSldViewPr snapToGrid="0">
      <p:cViewPr varScale="1">
        <p:scale>
          <a:sx n="83" d="100"/>
          <a:sy n="83" d="100"/>
        </p:scale>
        <p:origin x="1132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font" Target="fonts/font7.fntdata"/><Relationship Id="rId89" Type="http://schemas.openxmlformats.org/officeDocument/2006/relationships/font" Target="fonts/font12.fntdata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font" Target="fonts/font2.fntdata"/><Relationship Id="rId5" Type="http://schemas.openxmlformats.org/officeDocument/2006/relationships/slide" Target="slides/slide1.xml"/><Relationship Id="rId90" Type="http://schemas.openxmlformats.org/officeDocument/2006/relationships/font" Target="fonts/font13.fntdata"/><Relationship Id="rId95" Type="http://schemas.openxmlformats.org/officeDocument/2006/relationships/theme" Target="theme/theme1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80" Type="http://schemas.openxmlformats.org/officeDocument/2006/relationships/font" Target="fonts/font3.fntdata"/><Relationship Id="rId85" Type="http://schemas.openxmlformats.org/officeDocument/2006/relationships/font" Target="fonts/font8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font" Target="fonts/font6.fntdata"/><Relationship Id="rId88" Type="http://schemas.openxmlformats.org/officeDocument/2006/relationships/font" Target="fonts/font11.fntdata"/><Relationship Id="rId91" Type="http://schemas.openxmlformats.org/officeDocument/2006/relationships/font" Target="fonts/font14.fntdata"/><Relationship Id="rId9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font" Target="fonts/font1.fntdata"/><Relationship Id="rId81" Type="http://schemas.openxmlformats.org/officeDocument/2006/relationships/font" Target="fonts/font4.fntdata"/><Relationship Id="rId86" Type="http://schemas.openxmlformats.org/officeDocument/2006/relationships/font" Target="fonts/font9.fntdata"/><Relationship Id="rId9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97" Type="http://schemas.microsoft.com/office/2015/10/relationships/revisionInfo" Target="revisionInfo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tags" Target="tags/tag1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font" Target="fonts/font10.fntdata"/><Relationship Id="rId61" Type="http://schemas.openxmlformats.org/officeDocument/2006/relationships/slide" Target="slides/slide57.xml"/><Relationship Id="rId82" Type="http://schemas.openxmlformats.org/officeDocument/2006/relationships/font" Target="fonts/font5.fntdata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56" Type="http://schemas.openxmlformats.org/officeDocument/2006/relationships/slide" Target="slides/slide52.xml"/><Relationship Id="rId77" Type="http://schemas.openxmlformats.org/officeDocument/2006/relationships/slide" Target="slides/slide7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93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A55B8-DE6B-44B7-8FFF-B948A88D3A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262BB4-BB32-43BF-9735-3154357B7D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8BC5C2-DF9E-4E36-8858-AEFECED5B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10/04/2022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0A9E81-C6B9-4904-A0A0-B52A10802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253758-61DC-40B9-BACB-82FCEEAFA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587595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56FA53-F01A-4B6B-BFB6-B3A062031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20181E-3763-4748-8A16-F4B9121D5E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90612-6CEF-497F-A813-DA07D55248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10/04/2022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8E88C2-700E-4150-AA76-28FB62D38A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F51410-D9CD-46A7-BE07-E1558188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1795582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58C2A83-C841-4B66-8298-3EBF8C52B8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5125354-7FF6-4306-85A1-FCF9103ECF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C3C6EC-172D-4CE1-8D85-843EC8E37C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10/04/2022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B62AE-8DB8-43D9-A488-92F082A193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F26920-0C56-4272-B045-A5D88E359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2313468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4444" y="4104052"/>
            <a:ext cx="11089217" cy="692925"/>
          </a:xfrm>
          <a:prstGeom prst="rect">
            <a:avLst/>
          </a:prstGeom>
        </p:spPr>
        <p:txBody>
          <a:bodyPr lIns="0" anchor="b" anchorCtr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GB"/>
              <a:t>Title Slide 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4988836"/>
            <a:ext cx="11089216" cy="408912"/>
          </a:xfrm>
          <a:prstGeom prst="rect">
            <a:avLst/>
          </a:prstGeom>
        </p:spPr>
        <p:txBody>
          <a:bodyPr lIns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600" kern="1200" baseline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/>
              <a:t>Name of presenter, affiliation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9034874-11D5-DA4F-9B23-34D9DE8C6D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433" y="5559556"/>
            <a:ext cx="11089216" cy="408912"/>
          </a:xfrm>
          <a:prstGeom prst="rect">
            <a:avLst/>
          </a:prstGeom>
        </p:spPr>
        <p:txBody>
          <a:bodyPr lIns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600" kern="1200" baseline="0" dirty="0" smtClean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/>
              <a:t>Location &amp; date of present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CF8910-3997-4186-A545-A8CE55D63B8A}"/>
              </a:ext>
            </a:extLst>
          </p:cNvPr>
          <p:cNvGrpSpPr/>
          <p:nvPr userDrawn="1"/>
        </p:nvGrpSpPr>
        <p:grpSpPr>
          <a:xfrm>
            <a:off x="0" y="6088803"/>
            <a:ext cx="12192000" cy="769197"/>
            <a:chOff x="0" y="4566602"/>
            <a:chExt cx="9144000" cy="57689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E115815-0F41-46F9-BB8D-BD27EDE65B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566602"/>
              <a:ext cx="3509963" cy="576897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FD94CB0-C6F5-442C-A11F-801B15C89173}"/>
                </a:ext>
              </a:extLst>
            </p:cNvPr>
            <p:cNvSpPr/>
            <p:nvPr userDrawn="1"/>
          </p:nvSpPr>
          <p:spPr>
            <a:xfrm>
              <a:off x="3362325" y="4566602"/>
              <a:ext cx="5781675" cy="576898"/>
            </a:xfrm>
            <a:prstGeom prst="rect">
              <a:avLst/>
            </a:prstGeom>
            <a:solidFill>
              <a:srgbClr val="004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E591FF45-0F7D-4F07-B6E4-5EA937F398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434" y="2285718"/>
            <a:ext cx="2929023" cy="147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695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">
          <p15:clr>
            <a:srgbClr val="FBAE40"/>
          </p15:clr>
        </p15:guide>
        <p15:guide id="2" orient="horz" pos="826">
          <p15:clr>
            <a:srgbClr val="FBAE40"/>
          </p15:clr>
        </p15:guide>
        <p15:guide id="3" pos="5603">
          <p15:clr>
            <a:srgbClr val="FBAE40"/>
          </p15:clr>
        </p15:guide>
        <p15:guide id="4" pos="539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4444" y="1967139"/>
            <a:ext cx="11089217" cy="692925"/>
          </a:xfrm>
          <a:prstGeom prst="rect">
            <a:avLst/>
          </a:prstGeom>
        </p:spPr>
        <p:txBody>
          <a:bodyPr lIns="0" anchor="b" anchorCtr="0">
            <a:noAutofit/>
          </a:bodyPr>
          <a:lstStyle>
            <a:lvl1pPr marL="215979" marR="0" indent="-215979" algn="ctr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3200" b="1" kern="1200">
                <a:solidFill>
                  <a:srgbClr val="F4821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GB" dirty="0"/>
              <a:t>Thank yo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3100402"/>
            <a:ext cx="11089216" cy="408912"/>
          </a:xfrm>
          <a:prstGeom prst="rect">
            <a:avLst/>
          </a:prstGeom>
        </p:spPr>
        <p:txBody>
          <a:bodyPr lIns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600" kern="1200" baseline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 dirty="0"/>
              <a:t>Name of presenter, affiliation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9034874-11D5-DA4F-9B23-34D9DE8C6D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433" y="3671122"/>
            <a:ext cx="11089216" cy="408912"/>
          </a:xfrm>
          <a:prstGeom prst="rect">
            <a:avLst/>
          </a:prstGeom>
        </p:spPr>
        <p:txBody>
          <a:bodyPr lIns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600" kern="1200" baseline="0" dirty="0" smtClean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 dirty="0"/>
              <a:t>Contact Inform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CF8910-3997-4186-A545-A8CE55D63B8A}"/>
              </a:ext>
            </a:extLst>
          </p:cNvPr>
          <p:cNvGrpSpPr/>
          <p:nvPr userDrawn="1"/>
        </p:nvGrpSpPr>
        <p:grpSpPr>
          <a:xfrm>
            <a:off x="0" y="6088803"/>
            <a:ext cx="12192000" cy="769197"/>
            <a:chOff x="0" y="4566602"/>
            <a:chExt cx="9144000" cy="57689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E115815-0F41-46F9-BB8D-BD27EDE65B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566602"/>
              <a:ext cx="3509963" cy="576897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FD94CB0-C6F5-442C-A11F-801B15C89173}"/>
                </a:ext>
              </a:extLst>
            </p:cNvPr>
            <p:cNvSpPr/>
            <p:nvPr userDrawn="1"/>
          </p:nvSpPr>
          <p:spPr>
            <a:xfrm>
              <a:off x="3362325" y="4566602"/>
              <a:ext cx="5781675" cy="576898"/>
            </a:xfrm>
            <a:prstGeom prst="rect">
              <a:avLst/>
            </a:prstGeom>
            <a:solidFill>
              <a:srgbClr val="004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E591FF45-0F7D-4F07-B6E4-5EA937F398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1489" y="4273544"/>
            <a:ext cx="2929023" cy="147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290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">
          <p15:clr>
            <a:srgbClr val="FBAE40"/>
          </p15:clr>
        </p15:guide>
        <p15:guide id="2" orient="horz" pos="826">
          <p15:clr>
            <a:srgbClr val="FBAE40"/>
          </p15:clr>
        </p15:guide>
        <p15:guide id="3" pos="5603">
          <p15:clr>
            <a:srgbClr val="FBAE40"/>
          </p15:clr>
        </p15:guide>
        <p15:guide id="4" pos="53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441CA57-6943-9F41-9E1E-50E2F585B9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291754"/>
            <a:ext cx="9719601" cy="57968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lang="en-US" sz="2400" b="1" kern="1200" cap="all" baseline="0" dirty="0">
                <a:solidFill>
                  <a:srgbClr val="F4821F"/>
                </a:solidFill>
                <a:uFill>
                  <a:solidFill>
                    <a:schemeClr val="tx2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– one 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6A7C0A-1BA5-C74C-BEC1-1A990858C7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1929" y="1185340"/>
            <a:ext cx="11253492" cy="4909989"/>
          </a:xfrm>
          <a:prstGeom prst="rect">
            <a:avLst/>
          </a:prstGeom>
        </p:spPr>
        <p:txBody>
          <a:bodyPr lIns="0"/>
          <a:lstStyle>
            <a:lvl1pPr marL="359966" indent="-179372">
              <a:spcBef>
                <a:spcPts val="1000"/>
              </a:spcBef>
              <a:buClr>
                <a:srgbClr val="003C7D"/>
              </a:buClr>
              <a:buFont typeface="Arial" panose="020B0604020202020204" pitchFamily="34" charset="0"/>
              <a:buChar char="•"/>
              <a:defRPr sz="2000" baseline="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39947" indent="-179984">
              <a:buClr>
                <a:srgbClr val="003C7D"/>
              </a:buClr>
              <a:buFont typeface="Arial" panose="020B0604020202020204" pitchFamily="34" charset="0"/>
              <a:buChar char="•"/>
              <a:defRPr sz="180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19067" indent="-179372">
              <a:buClr>
                <a:srgbClr val="003C7D"/>
              </a:buClr>
              <a:buFont typeface="Arial" panose="020B0604020202020204" pitchFamily="34" charset="0"/>
              <a:buChar char="•"/>
              <a:defRPr sz="160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00023" indent="-180958">
              <a:spcBef>
                <a:spcPts val="500"/>
              </a:spcBef>
              <a:buClr>
                <a:srgbClr val="003C7D"/>
              </a:buClr>
              <a:buFont typeface="Arial" panose="020B0604020202020204" pitchFamily="34" charset="0"/>
              <a:buChar char="•"/>
              <a:defRPr sz="140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079893" indent="-179984">
              <a:spcBef>
                <a:spcPts val="500"/>
              </a:spcBef>
              <a:buClr>
                <a:srgbClr val="003C7D"/>
              </a:buClr>
              <a:buFont typeface="Arial" panose="020B0604020202020204" pitchFamily="34" charset="0"/>
              <a:buChar char="•"/>
              <a:defRPr sz="120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ontent slide – TCP logo only necessary on first slid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041BF8-9BAF-43B4-B220-52ADAFDF68B7}"/>
              </a:ext>
            </a:extLst>
          </p:cNvPr>
          <p:cNvSpPr txBox="1"/>
          <p:nvPr userDrawn="1"/>
        </p:nvSpPr>
        <p:spPr>
          <a:xfrm rot="16200000">
            <a:off x="-1452259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ADFA058-395C-41E3-81A3-9BF3DDBEB86D}"/>
              </a:ext>
            </a:extLst>
          </p:cNvPr>
          <p:cNvCxnSpPr>
            <a:cxnSpLocks/>
          </p:cNvCxnSpPr>
          <p:nvPr userDrawn="1"/>
        </p:nvCxnSpPr>
        <p:spPr>
          <a:xfrm>
            <a:off x="2" y="888725"/>
            <a:ext cx="10498665" cy="0"/>
          </a:xfrm>
          <a:prstGeom prst="line">
            <a:avLst/>
          </a:prstGeom>
          <a:ln>
            <a:solidFill>
              <a:srgbClr val="F48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D17CED54-1D9F-4D17-B816-3FBB5510AC75}"/>
              </a:ext>
            </a:extLst>
          </p:cNvPr>
          <p:cNvSpPr txBox="1"/>
          <p:nvPr userDrawn="1"/>
        </p:nvSpPr>
        <p:spPr>
          <a:xfrm>
            <a:off x="10906063" y="6261738"/>
            <a:ext cx="8685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6C6F911-DFDC-4B93-962C-66F0D8D51AD1}" type="slidenum">
              <a:rPr 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33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 descr="A picture containing clock, fence&#10;&#10;Description automatically generated">
            <a:extLst>
              <a:ext uri="{FF2B5EF4-FFF2-40B4-BE49-F238E27FC236}">
                <a16:creationId xmlns:a16="http://schemas.microsoft.com/office/drawing/2014/main" id="{ACD180F0-DF58-4D42-98CD-411CBBA27E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371" y="231680"/>
            <a:ext cx="882709" cy="823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91973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46">
          <p15:clr>
            <a:srgbClr val="FBAE40"/>
          </p15:clr>
        </p15:guide>
        <p15:guide id="2" pos="159">
          <p15:clr>
            <a:srgbClr val="FBAE40"/>
          </p15:clr>
        </p15:guide>
        <p15:guide id="3" orient="horz" pos="1620">
          <p15:clr>
            <a:srgbClr val="FBAE40"/>
          </p15:clr>
        </p15:guide>
        <p15:guide id="4" pos="5603">
          <p15:clr>
            <a:srgbClr val="FBAE40"/>
          </p15:clr>
        </p15:guide>
        <p15:guide id="5" pos="53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441CA57-6943-9F41-9E1E-50E2F585B9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291754"/>
            <a:ext cx="9719601" cy="988406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lang="en-US" sz="2400" b="1" kern="1200" cap="all" baseline="0" dirty="0">
                <a:solidFill>
                  <a:srgbClr val="F4821F"/>
                </a:solidFill>
                <a:uFill>
                  <a:solidFill>
                    <a:schemeClr val="tx2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– two lin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041BF8-9BAF-43B4-B220-52ADAFDF68B7}"/>
              </a:ext>
            </a:extLst>
          </p:cNvPr>
          <p:cNvSpPr txBox="1"/>
          <p:nvPr userDrawn="1"/>
        </p:nvSpPr>
        <p:spPr>
          <a:xfrm rot="16200000">
            <a:off x="-1452259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ADFA058-395C-41E3-81A3-9BF3DDBEB86D}"/>
              </a:ext>
            </a:extLst>
          </p:cNvPr>
          <p:cNvCxnSpPr>
            <a:cxnSpLocks/>
          </p:cNvCxnSpPr>
          <p:nvPr userDrawn="1"/>
        </p:nvCxnSpPr>
        <p:spPr>
          <a:xfrm>
            <a:off x="2" y="1163045"/>
            <a:ext cx="10498665" cy="0"/>
          </a:xfrm>
          <a:prstGeom prst="line">
            <a:avLst/>
          </a:prstGeom>
          <a:ln>
            <a:solidFill>
              <a:srgbClr val="F48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D17CED54-1D9F-4D17-B816-3FBB5510AC75}"/>
              </a:ext>
            </a:extLst>
          </p:cNvPr>
          <p:cNvSpPr txBox="1"/>
          <p:nvPr userDrawn="1"/>
        </p:nvSpPr>
        <p:spPr>
          <a:xfrm>
            <a:off x="10906063" y="6261738"/>
            <a:ext cx="8685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6C6F911-DFDC-4B93-962C-66F0D8D51AD1}" type="slidenum">
              <a:rPr 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33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 descr="A picture containing clock, fence&#10;&#10;Description automatically generated">
            <a:extLst>
              <a:ext uri="{FF2B5EF4-FFF2-40B4-BE49-F238E27FC236}">
                <a16:creationId xmlns:a16="http://schemas.microsoft.com/office/drawing/2014/main" id="{ACD180F0-DF58-4D42-98CD-411CBBA27E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371" y="231680"/>
            <a:ext cx="882709" cy="823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30612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46">
          <p15:clr>
            <a:srgbClr val="FBAE40"/>
          </p15:clr>
        </p15:guide>
        <p15:guide id="2" pos="159">
          <p15:clr>
            <a:srgbClr val="FBAE40"/>
          </p15:clr>
        </p15:guide>
        <p15:guide id="3" orient="horz" pos="1620">
          <p15:clr>
            <a:srgbClr val="FBAE40"/>
          </p15:clr>
        </p15:guide>
        <p15:guide id="4" pos="5603">
          <p15:clr>
            <a:srgbClr val="FBAE40"/>
          </p15:clr>
        </p15:guide>
        <p15:guide id="5" pos="53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42649-BF4C-43DB-878A-6C18F4EE1D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BD3B69-51EE-47DC-B478-C6D630927C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3F69F8-24BF-44C4-8A2C-FFDD36AD1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10/04/2022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E5A6E9-236A-4EBF-9801-3421F0ACC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5622FE-9929-40E3-84F1-3C1C94C51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79449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4FE0A-B10E-45AD-9077-EC7824B60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CEF027-7AC3-458E-8ED1-433A6466DF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74366F-F320-409A-8633-D8223832C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10/04/2022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176623-6DE9-40C8-972C-FFB339EA61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62CF7-BF4E-467D-94AE-3C3C7E8A66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3519329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150E38-59E0-4A09-AA35-BAF2E7DA3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D56AFE-1765-4AC8-8E42-21E6A2209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4F308C6-779C-4D97-BD7F-B48A60F874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489B60B-39CE-40A6-9AFB-51703863C2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10/04/2022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FF8219-BB93-47BD-81AA-36B9E4028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2AB041-B08A-4595-82CA-29C104A2E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7768256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3206FC-264A-41B6-B3B4-0052CC784A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5F133F-4836-40A9-A3A2-9DAF3954E1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285FC9-BB61-4D40-B2AB-A01B942FEF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1E7564-7676-4EED-B71C-9DE5273DEE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675BC97-AD87-4C0B-AC50-C507F88759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3EA5C86-73B1-4DAC-9F8E-036606A4EC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10/04/2022</a:t>
            </a:fld>
            <a:endParaRPr lang="en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736BA91-6E0B-42A1-BCEC-D535BA808A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23F81B-DC62-4C8E-8B6B-FC89A783BF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097932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773CD5-CCD1-49D0-A1AA-9FAD1164F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43834F-DC83-4905-BF8D-A4EF336E0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10/04/2022</a:t>
            </a:fld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19C263-E13D-4257-9E80-F359F9A99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49DBB8-D2F7-4193-A777-AC24B1FFB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599871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337C07D-3299-44AB-8DFF-3DFC83003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10/04/2022</a:t>
            </a:fld>
            <a:endParaRPr lang="en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21B761-8266-40EC-A0BB-08164C6B1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229BD3-5611-445F-BE2A-22AB312EA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9902781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95A465-EB24-4BCC-AFD6-6E8FB9BAF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DB6222-2E7B-45D5-B173-9D7CE92F18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90B6CE-3F64-487D-85D0-88E5BEFE1F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A3942E-EE03-4277-9EC6-B74456FFEF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10/04/2022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1EBA0A-EFAC-4AA5-B843-10049995B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5A84E6-2786-48F1-8230-FA909A68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734386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3A6EC-349A-4DEF-9223-B70C3D69B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91317C-77ED-4E43-9115-542D8E261E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BFF81F-9286-48C2-81AA-7FC372D0CA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270B73-6FF4-408F-8D4D-6E8DB27747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10/04/2022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22ECE4-A91B-4E3E-94EF-6342A6A79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CC9857-2C14-479F-BE69-7D7196458C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6175168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26C10F-E6FA-4681-92D9-5858689B3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12269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65" imgH="567" progId="TCLayout.ActiveDocument.1">
                  <p:embed/>
                </p:oleObj>
              </mc:Choice>
              <mc:Fallback>
                <p:oleObj name="think-cell Slide" r:id="rId18" imgW="565" imgH="56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26C10F-E6FA-4681-92D9-5858689B3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F9FD46-1E0E-4EA8-8FD1-763A01870A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100415-D735-46E1-AD02-63268CD7DF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C04FAE-8FC5-4BDF-A808-A2F1A0B9D1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280577-EF51-4003-B25F-0289E263E9B9}" type="datetimeFigureOut">
              <a:rPr lang="en-BE" smtClean="0"/>
              <a:t>10/04/2022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F302F4-3F49-4860-9BAD-C73EBC77A4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39E697-532B-4245-935D-7C57EF2197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D48DA9-CB3D-4AB0-AA1A-B403EA1F03BE}" type="slidenum">
              <a:rPr lang="en-BE" smtClean="0"/>
              <a:t>‹#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293014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5" r:id="rId13"/>
    <p:sldLayoutId id="2147483673" r:id="rId14"/>
    <p:sldLayoutId id="214748367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.wmf"/><Relationship Id="rId18" Type="http://schemas.openxmlformats.org/officeDocument/2006/relationships/oleObject" Target="../embeddings/oleObject10.bin"/><Relationship Id="rId26" Type="http://schemas.openxmlformats.org/officeDocument/2006/relationships/oleObject" Target="../embeddings/oleObject14.bin"/><Relationship Id="rId39" Type="http://schemas.openxmlformats.org/officeDocument/2006/relationships/image" Target="../media/image25.jpeg"/><Relationship Id="rId21" Type="http://schemas.openxmlformats.org/officeDocument/2006/relationships/image" Target="../media/image15.wmf"/><Relationship Id="rId34" Type="http://schemas.openxmlformats.org/officeDocument/2006/relationships/oleObject" Target="../embeddings/oleObject18.bin"/><Relationship Id="rId42" Type="http://schemas.openxmlformats.org/officeDocument/2006/relationships/image" Target="../media/image28.jpeg"/><Relationship Id="rId47" Type="http://schemas.openxmlformats.org/officeDocument/2006/relationships/image" Target="../media/image33.png"/><Relationship Id="rId50" Type="http://schemas.openxmlformats.org/officeDocument/2006/relationships/image" Target="../media/image36.png"/><Relationship Id="rId7" Type="http://schemas.openxmlformats.org/officeDocument/2006/relationships/image" Target="../media/image8.wmf"/><Relationship Id="rId2" Type="http://schemas.openxmlformats.org/officeDocument/2006/relationships/oleObject" Target="../embeddings/oleObject2.bin"/><Relationship Id="rId16" Type="http://schemas.openxmlformats.org/officeDocument/2006/relationships/oleObject" Target="../embeddings/oleObject9.bin"/><Relationship Id="rId29" Type="http://schemas.openxmlformats.org/officeDocument/2006/relationships/image" Target="../media/image19.wmf"/><Relationship Id="rId11" Type="http://schemas.openxmlformats.org/officeDocument/2006/relationships/image" Target="../media/image10.wmf"/><Relationship Id="rId24" Type="http://schemas.openxmlformats.org/officeDocument/2006/relationships/oleObject" Target="../embeddings/oleObject13.bin"/><Relationship Id="rId32" Type="http://schemas.openxmlformats.org/officeDocument/2006/relationships/oleObject" Target="../embeddings/oleObject17.bin"/><Relationship Id="rId37" Type="http://schemas.openxmlformats.org/officeDocument/2006/relationships/image" Target="../media/image23.wmf"/><Relationship Id="rId40" Type="http://schemas.openxmlformats.org/officeDocument/2006/relationships/image" Target="../media/image26.jpeg"/><Relationship Id="rId45" Type="http://schemas.openxmlformats.org/officeDocument/2006/relationships/image" Target="../media/image31.png"/><Relationship Id="rId5" Type="http://schemas.openxmlformats.org/officeDocument/2006/relationships/image" Target="../media/image7.wmf"/><Relationship Id="rId15" Type="http://schemas.openxmlformats.org/officeDocument/2006/relationships/image" Target="../media/image12.wmf"/><Relationship Id="rId23" Type="http://schemas.openxmlformats.org/officeDocument/2006/relationships/image" Target="../media/image16.wmf"/><Relationship Id="rId28" Type="http://schemas.openxmlformats.org/officeDocument/2006/relationships/oleObject" Target="../embeddings/oleObject15.bin"/><Relationship Id="rId36" Type="http://schemas.openxmlformats.org/officeDocument/2006/relationships/oleObject" Target="../embeddings/oleObject19.bin"/><Relationship Id="rId49" Type="http://schemas.openxmlformats.org/officeDocument/2006/relationships/image" Target="../media/image35.png"/><Relationship Id="rId10" Type="http://schemas.openxmlformats.org/officeDocument/2006/relationships/oleObject" Target="../embeddings/oleObject6.bin"/><Relationship Id="rId19" Type="http://schemas.openxmlformats.org/officeDocument/2006/relationships/image" Target="../media/image14.wmf"/><Relationship Id="rId31" Type="http://schemas.openxmlformats.org/officeDocument/2006/relationships/image" Target="../media/image20.wmf"/><Relationship Id="rId44" Type="http://schemas.openxmlformats.org/officeDocument/2006/relationships/image" Target="../media/image3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9.wmf"/><Relationship Id="rId14" Type="http://schemas.openxmlformats.org/officeDocument/2006/relationships/oleObject" Target="../embeddings/oleObject8.bin"/><Relationship Id="rId22" Type="http://schemas.openxmlformats.org/officeDocument/2006/relationships/oleObject" Target="../embeddings/oleObject12.bin"/><Relationship Id="rId27" Type="http://schemas.openxmlformats.org/officeDocument/2006/relationships/image" Target="../media/image18.wmf"/><Relationship Id="rId30" Type="http://schemas.openxmlformats.org/officeDocument/2006/relationships/oleObject" Target="../embeddings/oleObject16.bin"/><Relationship Id="rId35" Type="http://schemas.openxmlformats.org/officeDocument/2006/relationships/image" Target="../media/image22.wmf"/><Relationship Id="rId43" Type="http://schemas.openxmlformats.org/officeDocument/2006/relationships/image" Target="../media/image29.png"/><Relationship Id="rId48" Type="http://schemas.openxmlformats.org/officeDocument/2006/relationships/image" Target="../media/image34.png"/><Relationship Id="rId8" Type="http://schemas.openxmlformats.org/officeDocument/2006/relationships/oleObject" Target="../embeddings/oleObject5.bin"/><Relationship Id="rId51" Type="http://schemas.openxmlformats.org/officeDocument/2006/relationships/image" Target="../media/image37.png"/><Relationship Id="rId3" Type="http://schemas.openxmlformats.org/officeDocument/2006/relationships/image" Target="../media/image6.wmf"/><Relationship Id="rId12" Type="http://schemas.openxmlformats.org/officeDocument/2006/relationships/oleObject" Target="../embeddings/oleObject7.bin"/><Relationship Id="rId17" Type="http://schemas.openxmlformats.org/officeDocument/2006/relationships/image" Target="../media/image13.wmf"/><Relationship Id="rId25" Type="http://schemas.openxmlformats.org/officeDocument/2006/relationships/image" Target="../media/image17.wmf"/><Relationship Id="rId33" Type="http://schemas.openxmlformats.org/officeDocument/2006/relationships/image" Target="../media/image21.wmf"/><Relationship Id="rId38" Type="http://schemas.openxmlformats.org/officeDocument/2006/relationships/image" Target="../media/image24.jpeg"/><Relationship Id="rId46" Type="http://schemas.openxmlformats.org/officeDocument/2006/relationships/image" Target="../media/image32.png"/><Relationship Id="rId20" Type="http://schemas.openxmlformats.org/officeDocument/2006/relationships/oleObject" Target="../embeddings/oleObject11.bin"/><Relationship Id="rId41" Type="http://schemas.openxmlformats.org/officeDocument/2006/relationships/image" Target="../media/image27.jpeg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5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14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14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15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5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4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5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5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5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14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4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39918276-8203-417F-BCD4-DD500BC36B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60960" rIns="121920" bIns="60960" rtlCol="0" anchor="b" anchorCtr="0">
            <a:noAutofit/>
          </a:bodyPr>
          <a:lstStyle/>
          <a:p>
            <a:pPr marL="215895" indent="-215895"/>
            <a:r>
              <a:rPr lang="en-US" dirty="0">
                <a:solidFill>
                  <a:schemeClr val="accent2"/>
                </a:solidFill>
                <a:latin typeface="Arial"/>
                <a:cs typeface="Arial"/>
              </a:rPr>
              <a:t>TRENDS 2022 Figures and Tables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B65ED596-FC94-4B02-95FA-D554CB1D11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Gaëtan Masson, Task 1 Manager, IEA PVPS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8D567FD-ABEF-4093-94E5-6AB99A8C56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60960" rIns="121920" bIns="60960" rtlCol="0" anchor="t">
            <a:noAutofit/>
          </a:bodyPr>
          <a:lstStyle/>
          <a:p>
            <a:pPr marL="215895" indent="-215895"/>
            <a:r>
              <a:rPr lang="en-US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29th of September 2022</a:t>
            </a:r>
            <a:endParaRPr lang="en-US" dirty="0">
              <a:latin typeface="Arial"/>
              <a:cs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5D281D7-E046-3478-3ACD-9530C5ED8E7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62" r="3775"/>
          <a:stretch/>
        </p:blipFill>
        <p:spPr>
          <a:xfrm>
            <a:off x="4610420" y="300331"/>
            <a:ext cx="7176888" cy="3722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572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AE0F55D-787F-B44F-A618-F214869DF4B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" y="1182914"/>
            <a:ext cx="10363200" cy="483616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FE946-0F85-7A47-950E-9D84232DDC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REGIONAL PV INSTALLATIONS</a:t>
            </a:r>
          </a:p>
        </p:txBody>
      </p:sp>
    </p:spTree>
    <p:extLst>
      <p:ext uri="{BB962C8B-B14F-4D97-AF65-F5344CB8AC3E}">
        <p14:creationId xmlns:p14="http://schemas.microsoft.com/office/powerpoint/2010/main" val="603090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CF0562E-C786-0644-8BA4-A8A6A3B1E0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1" y="1466850"/>
            <a:ext cx="10363200" cy="445008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0A2677-2A73-864F-AA06-76F0290CC5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2018-2021 GROWTH PER REGION</a:t>
            </a:r>
          </a:p>
        </p:txBody>
      </p:sp>
    </p:spTree>
    <p:extLst>
      <p:ext uri="{BB962C8B-B14F-4D97-AF65-F5344CB8AC3E}">
        <p14:creationId xmlns:p14="http://schemas.microsoft.com/office/powerpoint/2010/main" val="37915996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1D1B7DE-AA50-DB40-B08C-B06F87B8AA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945" y="1176564"/>
            <a:ext cx="5960110" cy="533273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66C250-4DD6-944E-92AE-E903F90C41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ENTRALIZED PV INSTALLED CAPACITY PER REGION 2021</a:t>
            </a:r>
          </a:p>
        </p:txBody>
      </p:sp>
    </p:spTree>
    <p:extLst>
      <p:ext uri="{BB962C8B-B14F-4D97-AF65-F5344CB8AC3E}">
        <p14:creationId xmlns:p14="http://schemas.microsoft.com/office/powerpoint/2010/main" val="3968614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7F8BC51-A0D5-2048-AD86-D9B02C6AB6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9" y="291754"/>
            <a:ext cx="8702882" cy="988406"/>
          </a:xfrm>
        </p:spPr>
        <p:txBody>
          <a:bodyPr/>
          <a:lstStyle/>
          <a:p>
            <a:r>
              <a:rPr lang="en-US" dirty="0"/>
              <a:t>CENTRALIZED PV CUMULATIVE INSTALLED CAPACITY PER REGION 2021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5E7ECA-B8B1-854B-A480-0B9715432D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945" y="1328965"/>
            <a:ext cx="5960110" cy="5332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709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D97C96A-5377-6A46-B7D6-89C516D304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ISTRIBUTED PV INSTALLED CAPACITY PER REGION 2021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EBE858C-D632-3A4C-B412-99C67A6CE0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945" y="1050471"/>
            <a:ext cx="5960110" cy="550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055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564210E-848E-C049-869F-684C9776D39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9" y="291754"/>
            <a:ext cx="8535242" cy="988406"/>
          </a:xfrm>
        </p:spPr>
        <p:txBody>
          <a:bodyPr/>
          <a:lstStyle/>
          <a:p>
            <a:r>
              <a:rPr lang="en-US" dirty="0"/>
              <a:t>DISTRIBUTED PV CUMULATIVE INSTALLED CAPACITY PER REGION 2021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32C43A5-2282-5F43-9124-5DFB119356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945" y="1229751"/>
            <a:ext cx="5960110" cy="550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2987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7D4192-44AE-4B47-8C73-8582E26E40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42" y="1446893"/>
            <a:ext cx="10363200" cy="440944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0E1709-CEB6-0540-9381-34E47346E5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NNUAL SHARE OF CENTRALIZED AND DISTRIBUTED </a:t>
            </a:r>
            <a:br>
              <a:rPr lang="en-US" dirty="0"/>
            </a:br>
            <a:r>
              <a:rPr lang="en-US" dirty="0"/>
              <a:t>GRID-Connected Installations 2011 – 2021 </a:t>
            </a:r>
          </a:p>
        </p:txBody>
      </p:sp>
    </p:spTree>
    <p:extLst>
      <p:ext uri="{BB962C8B-B14F-4D97-AF65-F5344CB8AC3E}">
        <p14:creationId xmlns:p14="http://schemas.microsoft.com/office/powerpoint/2010/main" val="2423790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50D782-F006-384D-8C01-A2219A6D4E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" y="1466850"/>
            <a:ext cx="10363200" cy="45720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627264-F1FC-E243-9865-049A986BFC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9" y="291754"/>
            <a:ext cx="9221042" cy="988406"/>
          </a:xfrm>
        </p:spPr>
        <p:txBody>
          <a:bodyPr/>
          <a:lstStyle/>
          <a:p>
            <a:r>
              <a:rPr lang="en-US" dirty="0"/>
              <a:t>CUMULATIVE SHARE OF GRID CONNECTED PV INSTALLATIONS 2011 – 2021</a:t>
            </a:r>
          </a:p>
        </p:txBody>
      </p:sp>
    </p:spTree>
    <p:extLst>
      <p:ext uri="{BB962C8B-B14F-4D97-AF65-F5344CB8AC3E}">
        <p14:creationId xmlns:p14="http://schemas.microsoft.com/office/powerpoint/2010/main" val="202726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41F82A4-32D3-C642-9C22-4F88FF3E222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200" y="1379220"/>
            <a:ext cx="5181600" cy="524256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A02F78-8BD1-DB44-AF6D-20C181ABD3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NNUAL GRID-CONNECTED CENTRALIZED AND DISTRIBUTED PV Installations BY REGION IN 2021</a:t>
            </a:r>
          </a:p>
        </p:txBody>
      </p:sp>
    </p:spTree>
    <p:extLst>
      <p:ext uri="{BB962C8B-B14F-4D97-AF65-F5344CB8AC3E}">
        <p14:creationId xmlns:p14="http://schemas.microsoft.com/office/powerpoint/2010/main" val="9532721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D852A48-A90B-2141-AF31-AB9E845B5E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308" y="1502802"/>
            <a:ext cx="10363200" cy="449072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701A3B-3CE1-0D4C-99C5-F6FC64129D0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9" y="291754"/>
            <a:ext cx="8382842" cy="988406"/>
          </a:xfrm>
        </p:spPr>
        <p:txBody>
          <a:bodyPr/>
          <a:lstStyle/>
          <a:p>
            <a:r>
              <a:rPr lang="en-US" dirty="0"/>
              <a:t>EVOLUTION OF PV INSTALLATIONS IN THE Americas per segment </a:t>
            </a:r>
          </a:p>
        </p:txBody>
      </p:sp>
    </p:spTree>
    <p:extLst>
      <p:ext uri="{BB962C8B-B14F-4D97-AF65-F5344CB8AC3E}">
        <p14:creationId xmlns:p14="http://schemas.microsoft.com/office/powerpoint/2010/main" val="33828671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FE3571BA-99C5-4A52-A4E2-0A87EAE4A5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What is IEA PVPS?</a:t>
            </a: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D4DEBF31-CA5E-4F47-81A1-2171A6B048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3014" y="1182278"/>
            <a:ext cx="11223039" cy="4448015"/>
          </a:xfrm>
          <a:noFill/>
        </p:spPr>
        <p:txBody>
          <a:bodyPr/>
          <a:lstStyle/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GB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The International Energy Agency (IEA), founded in 1974, is an autonomous body within the framework of the Organization for Economic Cooperation and Development (OECD). </a:t>
            </a:r>
            <a:r>
              <a:rPr lang="en-US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The Technology Collaboration </a:t>
            </a:r>
            <a:r>
              <a:rPr lang="en-US" b="0" i="0" u="none" strike="noStrike" dirty="0" err="1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Programme</a:t>
            </a:r>
            <a:r>
              <a:rPr lang="en-US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 was created with a belief that the future of energy security and sustainability starts with global collaboration. The </a:t>
            </a:r>
            <a:r>
              <a:rPr lang="en-US" b="0" i="0" u="none" strike="noStrike" dirty="0" err="1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programme</a:t>
            </a:r>
            <a:r>
              <a:rPr lang="en-US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 is made up of thousands of experts across government, academia, and industry dedicated to advancing common research and the application of specific energy technologies.</a:t>
            </a:r>
          </a:p>
          <a:p>
            <a:pPr rtl="0" fontAlgn="base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The IEA Photovoltaic Power Systems </a:t>
            </a:r>
            <a:r>
              <a:rPr lang="en-US" b="0" i="0" u="none" strike="noStrike" dirty="0" err="1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Programme</a:t>
            </a:r>
            <a:r>
              <a:rPr lang="en-US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 (PVPS) is one of </a:t>
            </a:r>
            <a:r>
              <a:rPr lang="en-US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  <a:r>
              <a:rPr lang="en-US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the Technology Collaboration </a:t>
            </a:r>
            <a:r>
              <a:rPr lang="en-US" b="0" i="0" u="none" strike="noStrike" dirty="0" err="1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Programme</a:t>
            </a:r>
            <a:r>
              <a:rPr lang="en-US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 established within the </a:t>
            </a:r>
            <a:r>
              <a:rPr lang="en-US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  <a:r>
              <a:rPr lang="en-US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International Energy Agency in 1993</a:t>
            </a:r>
            <a:r>
              <a:rPr lang="en-US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32 members - 27 countries, European Commission, 4 associations</a:t>
            </a:r>
            <a:r>
              <a:rPr lang="en-US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b="0" i="1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“To enhance the international collaborative efforts which facilitate the role of photovoltaic solar energy as a cornerstone in the transition to sustainable energy systems”</a:t>
            </a:r>
            <a:endParaRPr lang="en-US" b="0" i="0" dirty="0">
              <a:solidFill>
                <a:srgbClr val="F4821F"/>
              </a:solidFill>
              <a:effectLst/>
              <a:latin typeface="Arial" panose="020B0604020202020204" pitchFamily="34" charset="0"/>
            </a:endParaRPr>
          </a:p>
          <a:p>
            <a:pPr algn="just" rtl="0" fontAlgn="base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F4821F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EC982620-6290-4313-8FB0-08BB7DD19E1C}"/>
              </a:ext>
            </a:extLst>
          </p:cNvPr>
          <p:cNvGrpSpPr/>
          <p:nvPr/>
        </p:nvGrpSpPr>
        <p:grpSpPr>
          <a:xfrm>
            <a:off x="975601" y="5893300"/>
            <a:ext cx="10080899" cy="739112"/>
            <a:chOff x="688224" y="4074567"/>
            <a:chExt cx="7560674" cy="554334"/>
          </a:xfrm>
        </p:grpSpPr>
        <p:grpSp>
          <p:nvGrpSpPr>
            <p:cNvPr id="44" name="Groupe 43">
              <a:extLst>
                <a:ext uri="{FF2B5EF4-FFF2-40B4-BE49-F238E27FC236}">
                  <a16:creationId xmlns:a16="http://schemas.microsoft.com/office/drawing/2014/main" id="{F2D38FD7-8430-4FA6-989D-F15B12D1866A}"/>
                </a:ext>
              </a:extLst>
            </p:cNvPr>
            <p:cNvGrpSpPr/>
            <p:nvPr/>
          </p:nvGrpSpPr>
          <p:grpSpPr>
            <a:xfrm>
              <a:off x="688224" y="4074567"/>
              <a:ext cx="7560674" cy="163499"/>
              <a:chOff x="1287528" y="5692106"/>
              <a:chExt cx="9988634" cy="216003"/>
            </a:xfrm>
          </p:grpSpPr>
          <p:graphicFrame>
            <p:nvGraphicFramePr>
              <p:cNvPr id="51" name="Object 5">
                <a:extLst>
                  <a:ext uri="{FF2B5EF4-FFF2-40B4-BE49-F238E27FC236}">
                    <a16:creationId xmlns:a16="http://schemas.microsoft.com/office/drawing/2014/main" id="{C7ADBCA6-E20C-46B8-B272-E1D04431A661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1287528" y="5692106"/>
              <a:ext cx="27066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" imgW="3032280" imgH="1524240" progId="">
                      <p:embed/>
                    </p:oleObj>
                  </mc:Choice>
                  <mc:Fallback>
                    <p:oleObj name="Clip" r:id="rId2" imgW="3032280" imgH="1524240" progId="">
                      <p:embed/>
                      <p:pic>
                        <p:nvPicPr>
                          <p:cNvPr id="51" name="Object 5">
                            <a:extLst>
                              <a:ext uri="{FF2B5EF4-FFF2-40B4-BE49-F238E27FC236}">
                                <a16:creationId xmlns:a16="http://schemas.microsoft.com/office/drawing/2014/main" id="{C7ADBCA6-E20C-46B8-B272-E1D04431A661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287528" y="5692106"/>
                            <a:ext cx="270660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2" name="Object 6">
                <a:extLst>
                  <a:ext uri="{FF2B5EF4-FFF2-40B4-BE49-F238E27FC236}">
                    <a16:creationId xmlns:a16="http://schemas.microsoft.com/office/drawing/2014/main" id="{CAF25E45-5650-4D3E-84D6-63366A2206EF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1627120" y="5692106"/>
              <a:ext cx="27691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4" imgW="2881440" imgH="1904400" progId="">
                      <p:embed/>
                    </p:oleObj>
                  </mc:Choice>
                  <mc:Fallback>
                    <p:oleObj name="Clip" r:id="rId4" imgW="2881440" imgH="1904400" progId="">
                      <p:embed/>
                      <p:pic>
                        <p:nvPicPr>
                          <p:cNvPr id="52" name="Object 6">
                            <a:extLst>
                              <a:ext uri="{FF2B5EF4-FFF2-40B4-BE49-F238E27FC236}">
                                <a16:creationId xmlns:a16="http://schemas.microsoft.com/office/drawing/2014/main" id="{CAF25E45-5650-4D3E-84D6-63366A2206EF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627120" y="5692106"/>
                            <a:ext cx="276918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3" name="Object 7">
                <a:extLst>
                  <a:ext uri="{FF2B5EF4-FFF2-40B4-BE49-F238E27FC236}">
                    <a16:creationId xmlns:a16="http://schemas.microsoft.com/office/drawing/2014/main" id="{71C95789-A76F-4AB6-B742-BE366DC7B877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2366490" y="5692106"/>
              <a:ext cx="288594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6" imgW="3047760" imgH="1548000" progId="">
                      <p:embed/>
                    </p:oleObj>
                  </mc:Choice>
                  <mc:Fallback>
                    <p:oleObj name="Clip" r:id="rId6" imgW="3047760" imgH="1548000" progId="">
                      <p:embed/>
                      <p:pic>
                        <p:nvPicPr>
                          <p:cNvPr id="53" name="Object 7">
                            <a:extLst>
                              <a:ext uri="{FF2B5EF4-FFF2-40B4-BE49-F238E27FC236}">
                                <a16:creationId xmlns:a16="http://schemas.microsoft.com/office/drawing/2014/main" id="{71C95789-A76F-4AB6-B742-BE366DC7B877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366490" y="5692106"/>
                            <a:ext cx="288594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4" name="Object 8">
                <a:extLst>
                  <a:ext uri="{FF2B5EF4-FFF2-40B4-BE49-F238E27FC236}">
                    <a16:creationId xmlns:a16="http://schemas.microsoft.com/office/drawing/2014/main" id="{E23A9DBC-E5C1-4E2F-B8B0-7BB16D86CE28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3838198" y="5692106"/>
              <a:ext cx="278532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8" imgW="2879280" imgH="1920600" progId="">
                      <p:embed/>
                    </p:oleObj>
                  </mc:Choice>
                  <mc:Fallback>
                    <p:oleObj name="Clip" r:id="rId8" imgW="2879280" imgH="1920600" progId="">
                      <p:embed/>
                      <p:pic>
                        <p:nvPicPr>
                          <p:cNvPr id="54" name="Object 8">
                            <a:extLst>
                              <a:ext uri="{FF2B5EF4-FFF2-40B4-BE49-F238E27FC236}">
                                <a16:creationId xmlns:a16="http://schemas.microsoft.com/office/drawing/2014/main" id="{E23A9DBC-E5C1-4E2F-B8B0-7BB16D86CE28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838198" y="5692106"/>
                            <a:ext cx="278532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5" name="Object 9">
                <a:extLst>
                  <a:ext uri="{FF2B5EF4-FFF2-40B4-BE49-F238E27FC236}">
                    <a16:creationId xmlns:a16="http://schemas.microsoft.com/office/drawing/2014/main" id="{0F0AD922-E400-43CC-9C6C-025A8724BC67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3490734" y="5692109"/>
              <a:ext cx="278533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0" imgW="2911680" imgH="1920240" progId="">
                      <p:embed/>
                    </p:oleObj>
                  </mc:Choice>
                  <mc:Fallback>
                    <p:oleObj name="Clip" r:id="rId10" imgW="2911680" imgH="1920240" progId="">
                      <p:embed/>
                      <p:pic>
                        <p:nvPicPr>
                          <p:cNvPr id="55" name="Object 9">
                            <a:extLst>
                              <a:ext uri="{FF2B5EF4-FFF2-40B4-BE49-F238E27FC236}">
                                <a16:creationId xmlns:a16="http://schemas.microsoft.com/office/drawing/2014/main" id="{0F0AD922-E400-43CC-9C6C-025A8724BC67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490734" y="5692109"/>
                            <a:ext cx="278533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6" name="Object 10">
                <a:extLst>
                  <a:ext uri="{FF2B5EF4-FFF2-40B4-BE49-F238E27FC236}">
                    <a16:creationId xmlns:a16="http://schemas.microsoft.com/office/drawing/2014/main" id="{BA2093A1-6627-47A0-8BBE-DC5F30B60009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4606770" y="5692106"/>
              <a:ext cx="301092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2" imgW="2857680" imgH="1904760" progId="">
                      <p:embed/>
                    </p:oleObj>
                  </mc:Choice>
                  <mc:Fallback>
                    <p:oleObj name="Clip" r:id="rId12" imgW="2857680" imgH="1904760" progId="">
                      <p:embed/>
                      <p:pic>
                        <p:nvPicPr>
                          <p:cNvPr id="56" name="Object 10">
                            <a:extLst>
                              <a:ext uri="{FF2B5EF4-FFF2-40B4-BE49-F238E27FC236}">
                                <a16:creationId xmlns:a16="http://schemas.microsoft.com/office/drawing/2014/main" id="{BA2093A1-6627-47A0-8BBE-DC5F30B60009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3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606770" y="5692106"/>
                            <a:ext cx="301092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7" name="Object 11">
                <a:extLst>
                  <a:ext uri="{FF2B5EF4-FFF2-40B4-BE49-F238E27FC236}">
                    <a16:creationId xmlns:a16="http://schemas.microsoft.com/office/drawing/2014/main" id="{97169D3B-3859-4B25-994E-BFD26DD433A9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4976794" y="5692106"/>
              <a:ext cx="28063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4" imgW="2927520" imgH="1904760" progId="">
                      <p:embed/>
                    </p:oleObj>
                  </mc:Choice>
                  <mc:Fallback>
                    <p:oleObj name="Clip" r:id="rId14" imgW="2927520" imgH="1904760" progId="">
                      <p:embed/>
                      <p:pic>
                        <p:nvPicPr>
                          <p:cNvPr id="57" name="Object 11">
                            <a:extLst>
                              <a:ext uri="{FF2B5EF4-FFF2-40B4-BE49-F238E27FC236}">
                                <a16:creationId xmlns:a16="http://schemas.microsoft.com/office/drawing/2014/main" id="{97169D3B-3859-4B25-994E-BFD26DD433A9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976794" y="5692106"/>
                            <a:ext cx="280638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8" name="Object 12">
                <a:extLst>
                  <a:ext uri="{FF2B5EF4-FFF2-40B4-BE49-F238E27FC236}">
                    <a16:creationId xmlns:a16="http://schemas.microsoft.com/office/drawing/2014/main" id="{EA279474-4B99-4605-8AE5-BF0B028A076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5326364" y="5692106"/>
              <a:ext cx="25005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6" imgW="2873160" imgH="1936440" progId="">
                      <p:embed/>
                    </p:oleObj>
                  </mc:Choice>
                  <mc:Fallback>
                    <p:oleObj name="Clip" r:id="rId16" imgW="2873160" imgH="1936440" progId="">
                      <p:embed/>
                      <p:pic>
                        <p:nvPicPr>
                          <p:cNvPr id="58" name="Object 12">
                            <a:extLst>
                              <a:ext uri="{FF2B5EF4-FFF2-40B4-BE49-F238E27FC236}">
                                <a16:creationId xmlns:a16="http://schemas.microsoft.com/office/drawing/2014/main" id="{EA279474-4B99-4605-8AE5-BF0B028A0762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326364" y="5692106"/>
                            <a:ext cx="250050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9" name="Object 13">
                <a:extLst>
                  <a:ext uri="{FF2B5EF4-FFF2-40B4-BE49-F238E27FC236}">
                    <a16:creationId xmlns:a16="http://schemas.microsoft.com/office/drawing/2014/main" id="{86C07C5D-002C-4C7F-BCA8-5A971F3041A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5645346" y="5692106"/>
              <a:ext cx="29376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8" imgW="3017880" imgH="1890360" progId="">
                      <p:embed/>
                    </p:oleObj>
                  </mc:Choice>
                  <mc:Fallback>
                    <p:oleObj name="Clip" r:id="rId18" imgW="3017880" imgH="1890360" progId="">
                      <p:embed/>
                      <p:pic>
                        <p:nvPicPr>
                          <p:cNvPr id="59" name="Object 13">
                            <a:extLst>
                              <a:ext uri="{FF2B5EF4-FFF2-40B4-BE49-F238E27FC236}">
                                <a16:creationId xmlns:a16="http://schemas.microsoft.com/office/drawing/2014/main" id="{86C07C5D-002C-4C7F-BCA8-5A971F3041A2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645346" y="5692106"/>
                            <a:ext cx="293760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0" name="Object 14">
                <a:extLst>
                  <a:ext uri="{FF2B5EF4-FFF2-40B4-BE49-F238E27FC236}">
                    <a16:creationId xmlns:a16="http://schemas.microsoft.com/office/drawing/2014/main" id="{07971D74-5560-4C6E-896B-268A7471D88C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008038" y="5692106"/>
              <a:ext cx="28218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0" imgW="2995560" imgH="1936440" progId="">
                      <p:embed/>
                    </p:oleObj>
                  </mc:Choice>
                  <mc:Fallback>
                    <p:oleObj name="Clip" r:id="rId20" imgW="2995560" imgH="1936440" progId="">
                      <p:embed/>
                      <p:pic>
                        <p:nvPicPr>
                          <p:cNvPr id="60" name="Object 14">
                            <a:extLst>
                              <a:ext uri="{FF2B5EF4-FFF2-40B4-BE49-F238E27FC236}">
                                <a16:creationId xmlns:a16="http://schemas.microsoft.com/office/drawing/2014/main" id="{07971D74-5560-4C6E-896B-268A7471D88C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6008038" y="5692106"/>
                            <a:ext cx="282180" cy="216000"/>
                          </a:xfrm>
                          <a:prstGeom prst="rect">
                            <a:avLst/>
                          </a:prstGeom>
                          <a:noFill/>
                          <a:ln>
                            <a:solidFill>
                              <a:schemeClr val="bg1">
                                <a:lumMod val="85000"/>
                              </a:schemeClr>
                            </a:solidFill>
                          </a:ln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1" name="Object 15">
                <a:extLst>
                  <a:ext uri="{FF2B5EF4-FFF2-40B4-BE49-F238E27FC236}">
                    <a16:creationId xmlns:a16="http://schemas.microsoft.com/office/drawing/2014/main" id="{C4C62DE3-2423-49EA-9471-A342DC876B1E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8111050" y="5692106"/>
              <a:ext cx="27744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2" imgW="2903760" imgH="1920600" progId="">
                      <p:embed/>
                    </p:oleObj>
                  </mc:Choice>
                  <mc:Fallback>
                    <p:oleObj name="Clip" r:id="rId22" imgW="2903760" imgH="1920600" progId="">
                      <p:embed/>
                      <p:pic>
                        <p:nvPicPr>
                          <p:cNvPr id="61" name="Object 15">
                            <a:extLst>
                              <a:ext uri="{FF2B5EF4-FFF2-40B4-BE49-F238E27FC236}">
                                <a16:creationId xmlns:a16="http://schemas.microsoft.com/office/drawing/2014/main" id="{C4C62DE3-2423-49EA-9471-A342DC876B1E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3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8111050" y="5692106"/>
                            <a:ext cx="277440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2" name="Object 16">
                <a:extLst>
                  <a:ext uri="{FF2B5EF4-FFF2-40B4-BE49-F238E27FC236}">
                    <a16:creationId xmlns:a16="http://schemas.microsoft.com/office/drawing/2014/main" id="{A32CC217-5760-4CC8-8CDB-DDB1E3BCD53B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359150" y="5692106"/>
              <a:ext cx="29218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4" imgW="3056040" imgH="1927080" progId="">
                      <p:embed/>
                    </p:oleObj>
                  </mc:Choice>
                  <mc:Fallback>
                    <p:oleObj name="Clip" r:id="rId24" imgW="3056040" imgH="1927080" progId="">
                      <p:embed/>
                      <p:pic>
                        <p:nvPicPr>
                          <p:cNvPr id="62" name="Object 16">
                            <a:extLst>
                              <a:ext uri="{FF2B5EF4-FFF2-40B4-BE49-F238E27FC236}">
                                <a16:creationId xmlns:a16="http://schemas.microsoft.com/office/drawing/2014/main" id="{A32CC217-5760-4CC8-8CDB-DDB1E3BCD53B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6359150" y="5692106"/>
                            <a:ext cx="292188" cy="216000"/>
                          </a:xfrm>
                          <a:prstGeom prst="rect">
                            <a:avLst/>
                          </a:prstGeom>
                          <a:noFill/>
                          <a:ln>
                            <a:solidFill>
                              <a:schemeClr val="bg1">
                                <a:lumMod val="85000"/>
                              </a:schemeClr>
                            </a:solidFill>
                          </a:ln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3" name="Object 17">
                <a:extLst>
                  <a:ext uri="{FF2B5EF4-FFF2-40B4-BE49-F238E27FC236}">
                    <a16:creationId xmlns:a16="http://schemas.microsoft.com/office/drawing/2014/main" id="{8BDAF9AF-06CC-4DEE-8495-88BE8E6B5951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8457422" y="5692106"/>
              <a:ext cx="286176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6" imgW="2964960" imgH="1912680" progId="">
                      <p:embed/>
                    </p:oleObj>
                  </mc:Choice>
                  <mc:Fallback>
                    <p:oleObj name="Clip" r:id="rId26" imgW="2964960" imgH="1912680" progId="">
                      <p:embed/>
                      <p:pic>
                        <p:nvPicPr>
                          <p:cNvPr id="63" name="Object 17">
                            <a:extLst>
                              <a:ext uri="{FF2B5EF4-FFF2-40B4-BE49-F238E27FC236}">
                                <a16:creationId xmlns:a16="http://schemas.microsoft.com/office/drawing/2014/main" id="{8BDAF9AF-06CC-4DEE-8495-88BE8E6B5951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8457422" y="5692106"/>
                            <a:ext cx="286176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4" name="Object 18">
                <a:extLst>
                  <a:ext uri="{FF2B5EF4-FFF2-40B4-BE49-F238E27FC236}">
                    <a16:creationId xmlns:a16="http://schemas.microsoft.com/office/drawing/2014/main" id="{2B3EA348-E5FF-456C-B088-E145C85B13EC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9206050" y="5692106"/>
              <a:ext cx="28012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8" imgW="2919600" imgH="1904400" progId="">
                      <p:embed/>
                    </p:oleObj>
                  </mc:Choice>
                  <mc:Fallback>
                    <p:oleObj name="Clip" r:id="rId28" imgW="2919600" imgH="1904400" progId="">
                      <p:embed/>
                      <p:pic>
                        <p:nvPicPr>
                          <p:cNvPr id="64" name="Object 18">
                            <a:extLst>
                              <a:ext uri="{FF2B5EF4-FFF2-40B4-BE49-F238E27FC236}">
                                <a16:creationId xmlns:a16="http://schemas.microsoft.com/office/drawing/2014/main" id="{2B3EA348-E5FF-456C-B088-E145C85B13EC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9206050" y="5692106"/>
                            <a:ext cx="280128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5" name="Object 19">
                <a:extLst>
                  <a:ext uri="{FF2B5EF4-FFF2-40B4-BE49-F238E27FC236}">
                    <a16:creationId xmlns:a16="http://schemas.microsoft.com/office/drawing/2014/main" id="{7E01DCE2-964E-4B29-B076-9235D2DBF73B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9555110" y="5692106"/>
              <a:ext cx="283344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30" imgW="2871720" imgH="1896840" progId="">
                      <p:embed/>
                    </p:oleObj>
                  </mc:Choice>
                  <mc:Fallback>
                    <p:oleObj name="Clip" r:id="rId30" imgW="2871720" imgH="1896840" progId="">
                      <p:embed/>
                      <p:pic>
                        <p:nvPicPr>
                          <p:cNvPr id="65" name="Object 19">
                            <a:extLst>
                              <a:ext uri="{FF2B5EF4-FFF2-40B4-BE49-F238E27FC236}">
                                <a16:creationId xmlns:a16="http://schemas.microsoft.com/office/drawing/2014/main" id="{7E01DCE2-964E-4B29-B076-9235D2DBF73B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9555110" y="5692106"/>
                            <a:ext cx="283344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6" name="Object 20">
                <a:extLst>
                  <a:ext uri="{FF2B5EF4-FFF2-40B4-BE49-F238E27FC236}">
                    <a16:creationId xmlns:a16="http://schemas.microsoft.com/office/drawing/2014/main" id="{45A256E5-48D5-4A24-BD54-A90B283FFC45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9907386" y="5692106"/>
              <a:ext cx="23797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32" imgW="1997280" imgH="1996920" progId="">
                      <p:embed/>
                    </p:oleObj>
                  </mc:Choice>
                  <mc:Fallback>
                    <p:oleObj name="Clip" r:id="rId32" imgW="1997280" imgH="1996920" progId="">
                      <p:embed/>
                      <p:pic>
                        <p:nvPicPr>
                          <p:cNvPr id="66" name="Object 20">
                            <a:extLst>
                              <a:ext uri="{FF2B5EF4-FFF2-40B4-BE49-F238E27FC236}">
                                <a16:creationId xmlns:a16="http://schemas.microsoft.com/office/drawing/2014/main" id="{45A256E5-48D5-4A24-BD54-A90B283FFC45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3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9907386" y="5692106"/>
                            <a:ext cx="237978" cy="216000"/>
                          </a:xfrm>
                          <a:prstGeom prst="rect">
                            <a:avLst/>
                          </a:prstGeom>
                          <a:noFill/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7" name="Object 22">
                <a:extLst>
                  <a:ext uri="{FF2B5EF4-FFF2-40B4-BE49-F238E27FC236}">
                    <a16:creationId xmlns:a16="http://schemas.microsoft.com/office/drawing/2014/main" id="{94DC267C-42C2-4C75-8865-7A9F0FBF6816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7788996" y="5692106"/>
              <a:ext cx="253122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34" imgW="2881440" imgH="1904760" progId="">
                      <p:embed/>
                    </p:oleObj>
                  </mc:Choice>
                  <mc:Fallback>
                    <p:oleObj name="Clip" r:id="rId34" imgW="2881440" imgH="1904760" progId="">
                      <p:embed/>
                      <p:pic>
                        <p:nvPicPr>
                          <p:cNvPr id="67" name="Object 22">
                            <a:extLst>
                              <a:ext uri="{FF2B5EF4-FFF2-40B4-BE49-F238E27FC236}">
                                <a16:creationId xmlns:a16="http://schemas.microsoft.com/office/drawing/2014/main" id="{94DC267C-42C2-4C75-8865-7A9F0FBF6816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7788996" y="5692106"/>
                            <a:ext cx="253122" cy="216000"/>
                          </a:xfrm>
                          <a:prstGeom prst="rect">
                            <a:avLst/>
                          </a:prstGeom>
                          <a:noFill/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8" name="Object 24">
                <a:extLst>
                  <a:ext uri="{FF2B5EF4-FFF2-40B4-BE49-F238E27FC236}">
                    <a16:creationId xmlns:a16="http://schemas.microsoft.com/office/drawing/2014/main" id="{6CD6C633-FB33-4536-AD8E-2C5AF5AC3653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7442624" y="5692106"/>
              <a:ext cx="27744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36" imgW="2873520" imgH="1928520" progId="">
                      <p:embed/>
                    </p:oleObj>
                  </mc:Choice>
                  <mc:Fallback>
                    <p:oleObj name="Clip" r:id="rId36" imgW="2873520" imgH="1928520" progId="">
                      <p:embed/>
                      <p:pic>
                        <p:nvPicPr>
                          <p:cNvPr id="68" name="Object 24">
                            <a:extLst>
                              <a:ext uri="{FF2B5EF4-FFF2-40B4-BE49-F238E27FC236}">
                                <a16:creationId xmlns:a16="http://schemas.microsoft.com/office/drawing/2014/main" id="{6CD6C633-FB33-4536-AD8E-2C5AF5AC3653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7442624" y="5692106"/>
                            <a:ext cx="277440" cy="216000"/>
                          </a:xfrm>
                          <a:prstGeom prst="rect">
                            <a:avLst/>
                          </a:prstGeom>
                          <a:noFill/>
                        </p:spPr>
                      </p:pic>
                    </p:oleObj>
                  </mc:Fallback>
                </mc:AlternateContent>
              </a:graphicData>
            </a:graphic>
          </p:graphicFrame>
          <p:pic>
            <p:nvPicPr>
              <p:cNvPr id="69" name="Picture 27" descr="flag_malaysia">
                <a:extLst>
                  <a:ext uri="{FF2B5EF4-FFF2-40B4-BE49-F238E27FC236}">
                    <a16:creationId xmlns:a16="http://schemas.microsoft.com/office/drawing/2014/main" id="{A1F075A7-3192-44FE-AA9E-ABE56FF381C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8" cstate="print"/>
              <a:srcRect/>
              <a:stretch>
                <a:fillRect/>
              </a:stretch>
            </p:blipFill>
            <p:spPr bwMode="auto">
              <a:xfrm>
                <a:off x="7113790" y="5692106"/>
                <a:ext cx="259902" cy="216000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</p:pic>
          <p:pic>
            <p:nvPicPr>
              <p:cNvPr id="70" name="Picture 28" descr="turkey-flag">
                <a:extLst>
                  <a:ext uri="{FF2B5EF4-FFF2-40B4-BE49-F238E27FC236}">
                    <a16:creationId xmlns:a16="http://schemas.microsoft.com/office/drawing/2014/main" id="{A0A2ACDB-0C5A-4BBA-83E2-017BA0EB804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9" cstate="print"/>
              <a:srcRect/>
              <a:stretch>
                <a:fillRect/>
              </a:stretch>
            </p:blipFill>
            <p:spPr bwMode="auto">
              <a:xfrm>
                <a:off x="10214296" y="5692106"/>
                <a:ext cx="257058" cy="216000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</p:pic>
          <p:pic>
            <p:nvPicPr>
              <p:cNvPr id="71" name="Picture 10" descr="chinaJPG">
                <a:extLst>
                  <a:ext uri="{FF2B5EF4-FFF2-40B4-BE49-F238E27FC236}">
                    <a16:creationId xmlns:a16="http://schemas.microsoft.com/office/drawing/2014/main" id="{8689E2D2-76D8-4721-8141-C2F3FCD5C94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0" cstate="print"/>
              <a:srcRect/>
              <a:stretch>
                <a:fillRect/>
              </a:stretch>
            </p:blipFill>
            <p:spPr bwMode="auto">
              <a:xfrm>
                <a:off x="3117536" y="5692106"/>
                <a:ext cx="304266" cy="216000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</p:pic>
          <p:pic>
            <p:nvPicPr>
              <p:cNvPr id="72" name="Picture 125" descr="https://encrypted-tbn3.gstatic.com/images?q=tbn:ANd9GcTT-HHBNqX2dJjSDIxP2fkKF2uuNDzGxcE3GHMEnlkt1xbDnslP-ZvZnz0">
                <a:extLst>
                  <a:ext uri="{FF2B5EF4-FFF2-40B4-BE49-F238E27FC236}">
                    <a16:creationId xmlns:a16="http://schemas.microsoft.com/office/drawing/2014/main" id="{C44A4AB8-9A7C-45C4-8062-88744951B04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V="1">
                <a:off x="10540286" y="5692106"/>
                <a:ext cx="324000" cy="216000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3" name="Picture 2" descr="https://encrypted-tbn2.gstatic.com/images?q=tbn:ANd9GcSJNWYO2SB5ObY685iIZbG-oimia-NKBSGPz0d4RlDM2L3QtsT9ec3P5Ta-">
                <a:extLst>
                  <a:ext uri="{FF2B5EF4-FFF2-40B4-BE49-F238E27FC236}">
                    <a16:creationId xmlns:a16="http://schemas.microsoft.com/office/drawing/2014/main" id="{90A687F8-E0D4-45DF-A4E1-1EC759AC53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33226" y="5692106"/>
                <a:ext cx="342936" cy="216000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4" name="Picture 455" descr="https://upload.wikimedia.org/wikipedia/commons/thumb/b/bc/Flag_of_Finland.svg/langfr-225px-Flag_of_Finland.svg.png">
                <a:extLst>
                  <a:ext uri="{FF2B5EF4-FFF2-40B4-BE49-F238E27FC236}">
                    <a16:creationId xmlns:a16="http://schemas.microsoft.com/office/drawing/2014/main" id="{9F95FCAB-9835-43E7-AD4A-87D832F0852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85662" y="5692106"/>
                <a:ext cx="352176" cy="216000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5" name="Image 74">
                <a:extLst>
                  <a:ext uri="{FF2B5EF4-FFF2-40B4-BE49-F238E27FC236}">
                    <a16:creationId xmlns:a16="http://schemas.microsoft.com/office/drawing/2014/main" id="{2BD8FE53-C9E5-4E92-BB8B-C2D00013A6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12530" y="5692106"/>
                <a:ext cx="324588" cy="216000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  <p:pic>
            <p:nvPicPr>
              <p:cNvPr id="76" name="Image 75">
                <a:extLst>
                  <a:ext uri="{FF2B5EF4-FFF2-40B4-BE49-F238E27FC236}">
                    <a16:creationId xmlns:a16="http://schemas.microsoft.com/office/drawing/2014/main" id="{AB152037-D4FF-455E-B7DF-77CA4A7670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24016" y="5692106"/>
                <a:ext cx="324588" cy="216000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  <p:pic>
            <p:nvPicPr>
              <p:cNvPr id="77" name="Image 76">
                <a:extLst>
                  <a:ext uri="{FF2B5EF4-FFF2-40B4-BE49-F238E27FC236}">
                    <a16:creationId xmlns:a16="http://schemas.microsoft.com/office/drawing/2014/main" id="{2CBE967B-4248-415C-BD41-2E2AFA023A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20270" y="5692106"/>
                <a:ext cx="324588" cy="216000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  <p:pic>
            <p:nvPicPr>
              <p:cNvPr id="78" name="Image 77">
                <a:extLst>
                  <a:ext uri="{FF2B5EF4-FFF2-40B4-BE49-F238E27FC236}">
                    <a16:creationId xmlns:a16="http://schemas.microsoft.com/office/drawing/2014/main" id="{17E62D9E-A70D-47C1-92BA-50AC5F32D8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2970" y="5692106"/>
                <a:ext cx="324588" cy="216000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</p:grpSp>
        <p:grpSp>
          <p:nvGrpSpPr>
            <p:cNvPr id="46" name="Groupe 45">
              <a:extLst>
                <a:ext uri="{FF2B5EF4-FFF2-40B4-BE49-F238E27FC236}">
                  <a16:creationId xmlns:a16="http://schemas.microsoft.com/office/drawing/2014/main" id="{A09ABD48-9933-499D-85FF-492902F0250B}"/>
                </a:ext>
              </a:extLst>
            </p:cNvPr>
            <p:cNvGrpSpPr/>
            <p:nvPr/>
          </p:nvGrpSpPr>
          <p:grpSpPr>
            <a:xfrm>
              <a:off x="2922140" y="4442875"/>
              <a:ext cx="2435556" cy="186026"/>
              <a:chOff x="2035703" y="4429304"/>
              <a:chExt cx="2435556" cy="186026"/>
            </a:xfrm>
          </p:grpSpPr>
          <p:pic>
            <p:nvPicPr>
              <p:cNvPr id="47" name="Picture 38">
                <a:extLst>
                  <a:ext uri="{FF2B5EF4-FFF2-40B4-BE49-F238E27FC236}">
                    <a16:creationId xmlns:a16="http://schemas.microsoft.com/office/drawing/2014/main" id="{0F21400F-B970-43B3-AADC-9C145115EF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35703" y="4440569"/>
                <a:ext cx="569614" cy="163496"/>
              </a:xfrm>
              <a:prstGeom prst="rect">
                <a:avLst/>
              </a:prstGeom>
            </p:spPr>
          </p:pic>
          <p:pic>
            <p:nvPicPr>
              <p:cNvPr id="48" name="Picture 40">
                <a:extLst>
                  <a:ext uri="{FF2B5EF4-FFF2-40B4-BE49-F238E27FC236}">
                    <a16:creationId xmlns:a16="http://schemas.microsoft.com/office/drawing/2014/main" id="{69157669-C61E-4BC6-B3DB-E06D3D5283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50224" y="4446207"/>
                <a:ext cx="398250" cy="152220"/>
              </a:xfrm>
              <a:prstGeom prst="rect">
                <a:avLst/>
              </a:prstGeom>
            </p:spPr>
          </p:pic>
          <p:pic>
            <p:nvPicPr>
              <p:cNvPr id="49" name="Picture 42">
                <a:extLst>
                  <a:ext uri="{FF2B5EF4-FFF2-40B4-BE49-F238E27FC236}">
                    <a16:creationId xmlns:a16="http://schemas.microsoft.com/office/drawing/2014/main" id="{BDF54499-1B92-4917-94F4-787789DB1D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28555" y="4443131"/>
                <a:ext cx="431853" cy="158373"/>
              </a:xfrm>
              <a:prstGeom prst="rect">
                <a:avLst/>
              </a:prstGeom>
            </p:spPr>
          </p:pic>
          <p:pic>
            <p:nvPicPr>
              <p:cNvPr id="50" name="Picture 44">
                <a:extLst>
                  <a:ext uri="{FF2B5EF4-FFF2-40B4-BE49-F238E27FC236}">
                    <a16:creationId xmlns:a16="http://schemas.microsoft.com/office/drawing/2014/main" id="{2E9A9E5A-8D46-410D-8277-562CD8BCA6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32582" y="4429304"/>
                <a:ext cx="438677" cy="18602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8023155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EA342C-0AAF-B049-AA35-4D72CBCD2F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76" y="1683044"/>
            <a:ext cx="10363200" cy="430784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934DEE-5E8A-6046-ADDD-8E1D8B259E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9" y="291754"/>
            <a:ext cx="8017082" cy="988406"/>
          </a:xfrm>
        </p:spPr>
        <p:txBody>
          <a:bodyPr/>
          <a:lstStyle/>
          <a:p>
            <a:r>
              <a:rPr lang="en-US" dirty="0"/>
              <a:t>EVOLUTION OF PV INSTALLATIONS IN ASIA Pacific per segment </a:t>
            </a:r>
          </a:p>
        </p:txBody>
      </p:sp>
    </p:spTree>
    <p:extLst>
      <p:ext uri="{BB962C8B-B14F-4D97-AF65-F5344CB8AC3E}">
        <p14:creationId xmlns:p14="http://schemas.microsoft.com/office/powerpoint/2010/main" val="52534696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7A6CEFD-FACB-6F4C-BCE4-A43180F1C0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" y="1456106"/>
            <a:ext cx="10363200" cy="453136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C9B54B-9633-3147-AD86-BE932D6EBA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PV INSTALLATIONS IN EUROPE per segment </a:t>
            </a:r>
          </a:p>
        </p:txBody>
      </p:sp>
    </p:spTree>
    <p:extLst>
      <p:ext uri="{BB962C8B-B14F-4D97-AF65-F5344CB8AC3E}">
        <p14:creationId xmlns:p14="http://schemas.microsoft.com/office/powerpoint/2010/main" val="11573570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8181713-515F-6641-92B2-4D825F5239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032" y="1621790"/>
            <a:ext cx="10363200" cy="43688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586275-C3A9-FF42-82B4-8FDF19AE27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9" y="291754"/>
            <a:ext cx="8245682" cy="988406"/>
          </a:xfrm>
        </p:spPr>
        <p:txBody>
          <a:bodyPr/>
          <a:lstStyle/>
          <a:p>
            <a:r>
              <a:rPr lang="en-US" dirty="0"/>
              <a:t>EVOLUTION OF PV INSTALLATIONS IN AFRICA and the middle east per segment </a:t>
            </a:r>
          </a:p>
        </p:txBody>
      </p:sp>
    </p:spTree>
    <p:extLst>
      <p:ext uri="{BB962C8B-B14F-4D97-AF65-F5344CB8AC3E}">
        <p14:creationId xmlns:p14="http://schemas.microsoft.com/office/powerpoint/2010/main" val="37222402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CD2F390-D420-8D47-873C-58A3AC0555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2949" y="1496060"/>
            <a:ext cx="9067800" cy="472948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998610F-CCEF-7343-B523-8A2E3B57D4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9" y="291754"/>
            <a:ext cx="8306642" cy="988406"/>
          </a:xfrm>
        </p:spPr>
        <p:txBody>
          <a:bodyPr/>
          <a:lstStyle/>
          <a:p>
            <a:r>
              <a:rPr lang="en-US" dirty="0"/>
              <a:t>EVOLUTION OF MARKET INCENTIVES AND ENABLERS- 2010, 2015, 2021</a:t>
            </a:r>
          </a:p>
        </p:txBody>
      </p:sp>
    </p:spTree>
    <p:extLst>
      <p:ext uri="{BB962C8B-B14F-4D97-AF65-F5344CB8AC3E}">
        <p14:creationId xmlns:p14="http://schemas.microsoft.com/office/powerpoint/2010/main" val="9420316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C620971-50B7-9A42-B1E5-88BA856F70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945" y="1628140"/>
            <a:ext cx="5960110" cy="429514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9CB991F-C100-D045-91FF-155EBD6721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in drivers of the distributed PV Market in 2021 </a:t>
            </a:r>
          </a:p>
        </p:txBody>
      </p:sp>
    </p:spTree>
    <p:extLst>
      <p:ext uri="{BB962C8B-B14F-4D97-AF65-F5344CB8AC3E}">
        <p14:creationId xmlns:p14="http://schemas.microsoft.com/office/powerpoint/2010/main" val="41261980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4BC884E-7E99-4B4F-978A-82D462A1989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945" y="1621108"/>
            <a:ext cx="5960110" cy="429514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386013-E955-6E4D-9B24-03C8961AD22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in drivers of the centralized PV market in 2021</a:t>
            </a:r>
          </a:p>
        </p:txBody>
      </p:sp>
    </p:spTree>
    <p:extLst>
      <p:ext uri="{BB962C8B-B14F-4D97-AF65-F5344CB8AC3E}">
        <p14:creationId xmlns:p14="http://schemas.microsoft.com/office/powerpoint/2010/main" val="19276960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4F840A0-EF45-3D4D-BD30-923EA2C9AC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4500" y="1351280"/>
            <a:ext cx="8420100" cy="531622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3575C9-0818-9F4F-A634-D15E049842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SYSTEM VALUE CHAIN (EXAMPLE OF CRYSTALLINE SILICON PV TECHNOLOGY)</a:t>
            </a:r>
          </a:p>
        </p:txBody>
      </p:sp>
    </p:spTree>
    <p:extLst>
      <p:ext uri="{BB962C8B-B14F-4D97-AF65-F5344CB8AC3E}">
        <p14:creationId xmlns:p14="http://schemas.microsoft.com/office/powerpoint/2010/main" val="312867727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3ACE732-B9CC-334A-A370-C31F8216A3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945" y="1891030"/>
            <a:ext cx="5960110" cy="393319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9857B50-A7A3-044C-904A-718B94E3BE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9" y="291754"/>
            <a:ext cx="9068642" cy="988406"/>
          </a:xfrm>
        </p:spPr>
        <p:txBody>
          <a:bodyPr/>
          <a:lstStyle/>
          <a:p>
            <a:r>
              <a:rPr lang="en-US" dirty="0"/>
              <a:t>PV SYSTEM VALUE CHAIN (EXAMPLE OF CRYSTALLINE SILICON PV TECHNOLOGY)</a:t>
            </a:r>
          </a:p>
        </p:txBody>
      </p:sp>
    </p:spTree>
    <p:extLst>
      <p:ext uri="{BB962C8B-B14F-4D97-AF65-F5344CB8AC3E}">
        <p14:creationId xmlns:p14="http://schemas.microsoft.com/office/powerpoint/2010/main" val="244262808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E20E2E8-B49F-984E-8A3F-4329A33E3C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945" y="1895036"/>
            <a:ext cx="5960110" cy="39090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71371E-29E7-DA49-A82A-212281F03A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9" y="291754"/>
            <a:ext cx="9068642" cy="988406"/>
          </a:xfrm>
        </p:spPr>
        <p:txBody>
          <a:bodyPr/>
          <a:lstStyle/>
          <a:p>
            <a:r>
              <a:rPr lang="en-US" dirty="0"/>
              <a:t>PV SYSTEM VALUE CHAIN (EXAMPLE OF CRYSTALLINE SILICON PV TECHNOLOGY)</a:t>
            </a:r>
          </a:p>
        </p:txBody>
      </p:sp>
    </p:spTree>
    <p:extLst>
      <p:ext uri="{BB962C8B-B14F-4D97-AF65-F5344CB8AC3E}">
        <p14:creationId xmlns:p14="http://schemas.microsoft.com/office/powerpoint/2010/main" val="187478130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BEDE3B7-D268-0549-9D76-E7F10893C5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945" y="1402080"/>
            <a:ext cx="5960110" cy="463296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DBCF7B-AB8F-5345-A777-D24DC15128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hare of PV Cell Production in 2021</a:t>
            </a:r>
          </a:p>
        </p:txBody>
      </p:sp>
    </p:spTree>
    <p:extLst>
      <p:ext uri="{BB962C8B-B14F-4D97-AF65-F5344CB8AC3E}">
        <p14:creationId xmlns:p14="http://schemas.microsoft.com/office/powerpoint/2010/main" val="2430218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FE3571BA-99C5-4A52-A4E2-0A87EAE4A5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Disclaimer</a:t>
            </a: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D4DEBF31-CA5E-4F47-81A1-2171A6B048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3014" y="1182278"/>
            <a:ext cx="11223039" cy="4448015"/>
          </a:xfrm>
          <a:noFill/>
        </p:spPr>
        <p:txBody>
          <a:bodyPr/>
          <a:lstStyle/>
          <a:p>
            <a:r>
              <a:rPr lang="en-US" dirty="0"/>
              <a:t>Data for non-IEA PVPS countries are provided by official contacts or experts in the relevant countries. </a:t>
            </a:r>
          </a:p>
          <a:p>
            <a:r>
              <a:rPr lang="en-US" dirty="0"/>
              <a:t>Data are valid at the date of publication and should be considered as estimates in several countries due to the publication date.</a:t>
            </a:r>
          </a:p>
          <a:p>
            <a:r>
              <a:rPr lang="en-US" dirty="0"/>
              <a:t>Please mention our references if you use these figures.</a:t>
            </a:r>
          </a:p>
        </p:txBody>
      </p:sp>
    </p:spTree>
    <p:extLst>
      <p:ext uri="{BB962C8B-B14F-4D97-AF65-F5344CB8AC3E}">
        <p14:creationId xmlns:p14="http://schemas.microsoft.com/office/powerpoint/2010/main" val="155992739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CB2BD5-B477-A148-8319-14B5138C58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hare of PV Module Production in 2021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117473F-5930-D14D-B182-580BFBDCC7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7809" y="1433830"/>
            <a:ext cx="5960110" cy="4512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69424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6E7721F-2973-9243-90CF-6E39798B83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480" y="1541780"/>
            <a:ext cx="5019040" cy="483616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C3BAF0-79C0-B544-B9DB-5B66508E86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MODULE PRODUCTION PER TECHNOLOGY IN IEA PVPS COUNTRIES IN 2021</a:t>
            </a:r>
          </a:p>
        </p:txBody>
      </p:sp>
    </p:spTree>
    <p:extLst>
      <p:ext uri="{BB962C8B-B14F-4D97-AF65-F5344CB8AC3E}">
        <p14:creationId xmlns:p14="http://schemas.microsoft.com/office/powerpoint/2010/main" val="47852970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814DDFC-98CB-284A-8264-3F0297EAE4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490" y="1582420"/>
            <a:ext cx="9067800" cy="46583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EC2935-979F-9C42-8182-EDB29377C9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YEARLY PV INSTALLATION, MODULE PV PRODUCTION AND MODULE PRODUCTION CAPACITY 2011-2021 (</a:t>
            </a:r>
            <a:r>
              <a:rPr lang="en-US" dirty="0" err="1"/>
              <a:t>GWp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1930646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504BD5E-324F-7846-99CD-7B7D3E9767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101" y="1998200"/>
            <a:ext cx="10363200" cy="353568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8889BD-2920-5245-BEBA-929A52795DB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9" y="291754"/>
            <a:ext cx="6554042" cy="988406"/>
          </a:xfrm>
        </p:spPr>
        <p:txBody>
          <a:bodyPr/>
          <a:lstStyle/>
          <a:p>
            <a:r>
              <a:rPr lang="en-US" dirty="0"/>
              <a:t>OVERVIEW OF DOWNSTREAM SECTOR (UTILITY PV APPLICATION)</a:t>
            </a:r>
          </a:p>
        </p:txBody>
      </p:sp>
    </p:spTree>
    <p:extLst>
      <p:ext uri="{BB962C8B-B14F-4D97-AF65-F5344CB8AC3E}">
        <p14:creationId xmlns:p14="http://schemas.microsoft.com/office/powerpoint/2010/main" val="58438763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C8ED927-8EF7-4A0F-B371-3292100554B6}"/>
              </a:ext>
            </a:extLst>
          </p:cNvPr>
          <p:cNvSpPr/>
          <p:nvPr/>
        </p:nvSpPr>
        <p:spPr>
          <a:xfrm>
            <a:off x="174929" y="405380"/>
            <a:ext cx="1445442" cy="3339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57B9252-9AD1-904B-A9FB-219DF1C398D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336" y="1285240"/>
            <a:ext cx="10363200" cy="471424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B7176C-619A-224E-8BF3-EFF027A620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</a:t>
            </a:r>
            <a:r>
              <a:rPr lang="en-US" baseline="30000" dirty="0"/>
              <a:t>2</a:t>
            </a:r>
            <a:r>
              <a:rPr lang="en-US" dirty="0"/>
              <a:t> EMISSIONS AVOIDED BY PV [MT CO</a:t>
            </a:r>
            <a:r>
              <a:rPr lang="en-US" baseline="30000" dirty="0"/>
              <a:t>2,eq</a:t>
            </a:r>
            <a:r>
              <a:rPr lang="en-US" dirty="0"/>
              <a:t>] </a:t>
            </a:r>
          </a:p>
        </p:txBody>
      </p:sp>
    </p:spTree>
    <p:extLst>
      <p:ext uri="{BB962C8B-B14F-4D97-AF65-F5344CB8AC3E}">
        <p14:creationId xmlns:p14="http://schemas.microsoft.com/office/powerpoint/2010/main" val="412271678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43F2CA2-8F21-3D45-9A19-0CBD8F458A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8020" y="1437640"/>
            <a:ext cx="5646420" cy="501904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DE0333-8F92-AE46-B9A3-E1DD0C06B9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VOIDED CO</a:t>
            </a:r>
            <a:r>
              <a:rPr lang="en-US" baseline="30000" dirty="0"/>
              <a:t>2</a:t>
            </a:r>
            <a:r>
              <a:rPr lang="en-US" dirty="0"/>
              <a:t> EMISSIONS AS PERCENTAGE OF ELECTRICITY SECTOR TOTAL EMISSIONS </a:t>
            </a:r>
          </a:p>
        </p:txBody>
      </p:sp>
    </p:spTree>
    <p:extLst>
      <p:ext uri="{BB962C8B-B14F-4D97-AF65-F5344CB8AC3E}">
        <p14:creationId xmlns:p14="http://schemas.microsoft.com/office/powerpoint/2010/main" val="4792223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1431091-067C-6345-9E9A-64A4CD3046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VOIDED CO</a:t>
            </a:r>
            <a:r>
              <a:rPr lang="en-US" baseline="30000" dirty="0"/>
              <a:t>2</a:t>
            </a:r>
            <a:r>
              <a:rPr lang="en-US" dirty="0"/>
              <a:t> EMISSIONS AS PERCENTAGE OF ENERGY SECTOR TOTAL EMISSIONS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17EA1B9-AF86-4A42-BF68-FDC5F26894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480" y="1731010"/>
            <a:ext cx="5019040" cy="4409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26518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639CE2E-D462-ED49-A7DE-F7634F9A26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" y="1005840"/>
            <a:ext cx="10363200" cy="512064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41AAC3-E916-5847-B5D1-2F52EE9EB5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USINESS VALUE OF THE PV MARKET IN 2021 </a:t>
            </a:r>
          </a:p>
        </p:txBody>
      </p:sp>
    </p:spTree>
    <p:extLst>
      <p:ext uri="{BB962C8B-B14F-4D97-AF65-F5344CB8AC3E}">
        <p14:creationId xmlns:p14="http://schemas.microsoft.com/office/powerpoint/2010/main" val="422147242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122410E-88D1-3C46-8576-C3F608B76A4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22"/>
          <a:stretch/>
        </p:blipFill>
        <p:spPr>
          <a:xfrm>
            <a:off x="3586480" y="1493520"/>
            <a:ext cx="5019040" cy="459639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712AFA-853E-694D-BE46-A8A1E80FA0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NTRIBUTION TO GLOBAL GDP OF PV BUSINESS VALUE AND ENERGY SECTOR INVESTMENTS</a:t>
            </a:r>
          </a:p>
        </p:txBody>
      </p:sp>
    </p:spTree>
    <p:extLst>
      <p:ext uri="{BB962C8B-B14F-4D97-AF65-F5344CB8AC3E}">
        <p14:creationId xmlns:p14="http://schemas.microsoft.com/office/powerpoint/2010/main" val="374711607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3EA6398-AB11-B644-A940-F6D9D8830B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480" y="1263650"/>
            <a:ext cx="5019040" cy="49784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80CC4C-5FAE-3144-8AA7-D176D8D83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bsolute PV industrial business value in 2021 </a:t>
            </a:r>
          </a:p>
        </p:txBody>
      </p:sp>
    </p:spTree>
    <p:extLst>
      <p:ext uri="{BB962C8B-B14F-4D97-AF65-F5344CB8AC3E}">
        <p14:creationId xmlns:p14="http://schemas.microsoft.com/office/powerpoint/2010/main" val="12340528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7E691F-062D-3E40-B7D2-30F514D080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CUMULATIVE PV INSTALLA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221D02A-A4A0-4046-A891-8EB9FCEA9F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588" y="1495445"/>
            <a:ext cx="10363200" cy="4389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96233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A7DF15F-BB87-7F49-9229-F7E11F648D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480" y="1209040"/>
            <a:ext cx="5019040" cy="520192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E52CEE-3118-8648-8EE4-4E6E63554E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8" y="291754"/>
            <a:ext cx="10364042" cy="579689"/>
          </a:xfrm>
        </p:spPr>
        <p:txBody>
          <a:bodyPr/>
          <a:lstStyle/>
          <a:p>
            <a:r>
              <a:rPr lang="en-US" dirty="0"/>
              <a:t>PV industrial business value along the value chain in 2021 </a:t>
            </a:r>
          </a:p>
        </p:txBody>
      </p:sp>
    </p:spTree>
    <p:extLst>
      <p:ext uri="{BB962C8B-B14F-4D97-AF65-F5344CB8AC3E}">
        <p14:creationId xmlns:p14="http://schemas.microsoft.com/office/powerpoint/2010/main" val="16955481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53DE5D8-3BC0-214E-A8F8-F94901A09C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6480" y="1300480"/>
            <a:ext cx="5019040" cy="495808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7D7571-E9D0-A647-BF2B-AFF4213151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industrial business value as share of GDP in 2021 </a:t>
            </a:r>
          </a:p>
        </p:txBody>
      </p:sp>
    </p:spTree>
    <p:extLst>
      <p:ext uri="{BB962C8B-B14F-4D97-AF65-F5344CB8AC3E}">
        <p14:creationId xmlns:p14="http://schemas.microsoft.com/office/powerpoint/2010/main" val="215401127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0970206-8C0A-624A-9579-D3647C86A2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3500" y="1446530"/>
            <a:ext cx="9067800" cy="456946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BC00F-B137-6B41-AACB-EA1A0F5EFF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GLOBAL EMPLOYMENT IN PV PER COUNTRY </a:t>
            </a:r>
          </a:p>
        </p:txBody>
      </p:sp>
    </p:spTree>
    <p:extLst>
      <p:ext uri="{BB962C8B-B14F-4D97-AF65-F5344CB8AC3E}">
        <p14:creationId xmlns:p14="http://schemas.microsoft.com/office/powerpoint/2010/main" val="54177714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19E65C7-842D-C442-9D2E-3E87D35C43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" y="1250950"/>
            <a:ext cx="10363200" cy="47752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7ABC72-79B2-7E4A-A0A4-F5AB23777D4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MDOULES SPOT PRICES LEARNING CURVE (1992-2021)</a:t>
            </a:r>
          </a:p>
        </p:txBody>
      </p:sp>
    </p:spTree>
    <p:extLst>
      <p:ext uri="{BB962C8B-B14F-4D97-AF65-F5344CB8AC3E}">
        <p14:creationId xmlns:p14="http://schemas.microsoft.com/office/powerpoint/2010/main" val="396105174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8A4663F-1415-B74D-BF63-E0C0A83D05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444" y="1428750"/>
            <a:ext cx="10363200" cy="445008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82B979-30CF-F04D-9BFA-A8AC424112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PV MODULES PRICES RANGE IN USD/W </a:t>
            </a:r>
          </a:p>
        </p:txBody>
      </p:sp>
    </p:spTree>
    <p:extLst>
      <p:ext uri="{BB962C8B-B14F-4D97-AF65-F5344CB8AC3E}">
        <p14:creationId xmlns:p14="http://schemas.microsoft.com/office/powerpoint/2010/main" val="1118706431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F505BD7-7574-A748-A417-B0958EB1AF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204" y="1644846"/>
            <a:ext cx="10363200" cy="404368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930E8B2-1ABB-E541-86D0-AB9ED32A3F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DICATIVE MODULE PRICES IN REPORTING COUNTRIES </a:t>
            </a:r>
          </a:p>
        </p:txBody>
      </p:sp>
    </p:spTree>
    <p:extLst>
      <p:ext uri="{BB962C8B-B14F-4D97-AF65-F5344CB8AC3E}">
        <p14:creationId xmlns:p14="http://schemas.microsoft.com/office/powerpoint/2010/main" val="157640791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6A49F81-463F-F04E-AF62-F949ECD4E0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" y="1254760"/>
            <a:ext cx="10363200" cy="471424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D61E93-3FE5-5843-98CE-1852F6AE54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2021 PV MARKET COSTS RANGES</a:t>
            </a:r>
          </a:p>
        </p:txBody>
      </p:sp>
    </p:spTree>
    <p:extLst>
      <p:ext uri="{BB962C8B-B14F-4D97-AF65-F5344CB8AC3E}">
        <p14:creationId xmlns:p14="http://schemas.microsoft.com/office/powerpoint/2010/main" val="276325137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7058F3B-224C-C344-B082-CC8C9118BA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4460" y="1684020"/>
            <a:ext cx="9067800" cy="48006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7EC898-A077-BE42-8781-60551B72B5A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RESIDENTIAL AND GROUND-MOUNTED SYSTEMS PRICE RANGE 2012 - 2021 (USD/W) </a:t>
            </a:r>
          </a:p>
        </p:txBody>
      </p:sp>
    </p:spTree>
    <p:extLst>
      <p:ext uri="{BB962C8B-B14F-4D97-AF65-F5344CB8AC3E}">
        <p14:creationId xmlns:p14="http://schemas.microsoft.com/office/powerpoint/2010/main" val="8898163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51BB6FF-4599-5F4C-8DB1-4303EDA2B1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448" y="1407160"/>
            <a:ext cx="10363200" cy="471424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2EF72B-435E-0C44-A853-955768CE759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DICATIVE INSTALLED SYSTEM PRICES IN SELECTED IEA PVPS REPORTING COUNTRIES IN 2021 </a:t>
            </a:r>
          </a:p>
        </p:txBody>
      </p:sp>
    </p:spTree>
    <p:extLst>
      <p:ext uri="{BB962C8B-B14F-4D97-AF65-F5344CB8AC3E}">
        <p14:creationId xmlns:p14="http://schemas.microsoft.com/office/powerpoint/2010/main" val="377255728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9DC2D10-2749-6843-A8C4-4D254AD745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69024" y="1371600"/>
            <a:ext cx="9281160" cy="512064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29B6D3-F805-C346-8072-DBE04DD870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COE OF PV ELECTRICITY AS A FUNCTION OF SOLAR IRRADIANCE &amp; RETAIL PRICES IN KEY MARKETS* </a:t>
            </a:r>
          </a:p>
        </p:txBody>
      </p:sp>
    </p:spTree>
    <p:extLst>
      <p:ext uri="{BB962C8B-B14F-4D97-AF65-F5344CB8AC3E}">
        <p14:creationId xmlns:p14="http://schemas.microsoft.com/office/powerpoint/2010/main" val="20891102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34F0146-9B9C-BB4E-BC67-414D3E589B5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457" y="1316263"/>
            <a:ext cx="10363200" cy="47752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847011-1071-CA42-914E-AAB009B8C4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PENETRATION PER CAPITA IN 2021</a:t>
            </a:r>
          </a:p>
        </p:txBody>
      </p:sp>
    </p:spTree>
    <p:extLst>
      <p:ext uri="{BB962C8B-B14F-4D97-AF65-F5344CB8AC3E}">
        <p14:creationId xmlns:p14="http://schemas.microsoft.com/office/powerpoint/2010/main" val="48471552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419B88A-B92A-DD45-A2A2-952BA91252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9556" y="1671320"/>
            <a:ext cx="9067800" cy="440944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E8086E8-C3CC-FE40-BE6E-7D38615E35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9" y="291754"/>
            <a:ext cx="8931482" cy="988406"/>
          </a:xfrm>
        </p:spPr>
        <p:txBody>
          <a:bodyPr/>
          <a:lstStyle/>
          <a:p>
            <a:r>
              <a:rPr lang="en-US" dirty="0"/>
              <a:t>NORMALISED LCOE FOR SOLAR PV BASED ON LOWEST* PPA PRICES 2016 - Q4 2021</a:t>
            </a:r>
          </a:p>
        </p:txBody>
      </p:sp>
    </p:spTree>
    <p:extLst>
      <p:ext uri="{BB962C8B-B14F-4D97-AF65-F5344CB8AC3E}">
        <p14:creationId xmlns:p14="http://schemas.microsoft.com/office/powerpoint/2010/main" val="250765922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E8086E8-C3CC-FE40-BE6E-7D38615E35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9" y="291754"/>
            <a:ext cx="8931482" cy="988406"/>
          </a:xfrm>
        </p:spPr>
        <p:txBody>
          <a:bodyPr/>
          <a:lstStyle/>
          <a:p>
            <a:r>
              <a:rPr lang="en-US" dirty="0"/>
              <a:t>NORMALISED LCOE FOR SOLAR PV BASED ON RECENT PPA PRICES 2021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179CF18-2B73-E44B-B07E-4C45064944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666" y="1659208"/>
            <a:ext cx="9085580" cy="4551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299944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557654A-2342-E44E-BAB2-F12C5E8C9F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" y="1045210"/>
            <a:ext cx="10363200" cy="514096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3B243D-8A9C-C745-859C-D9D33921546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CONTRIBUTION TO ELECTRICITY DEMAND 2021 </a:t>
            </a:r>
          </a:p>
        </p:txBody>
      </p:sp>
    </p:spTree>
    <p:extLst>
      <p:ext uri="{BB962C8B-B14F-4D97-AF65-F5344CB8AC3E}">
        <p14:creationId xmlns:p14="http://schemas.microsoft.com/office/powerpoint/2010/main" val="334702029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153668C-C0AE-EA40-8C27-0EBE9988E1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945" y="2040890"/>
            <a:ext cx="5960110" cy="388493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32B3AF-70D8-1B43-BA3F-D58EC369A0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HARE OF RENEWABLE IN THE GLOBAL ELECTRICITY PRODUCTION IN 2021</a:t>
            </a:r>
          </a:p>
        </p:txBody>
      </p:sp>
    </p:spTree>
    <p:extLst>
      <p:ext uri="{BB962C8B-B14F-4D97-AF65-F5344CB8AC3E}">
        <p14:creationId xmlns:p14="http://schemas.microsoft.com/office/powerpoint/2010/main" val="239178989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8BBD6C2-FE92-B643-B373-2BA88F3C5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945" y="1977296"/>
            <a:ext cx="5960110" cy="395732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37D779-9CBA-8843-BDDE-95FB6C6530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EW RENEWABLE INSTALLED CAPACITY IN 2021</a:t>
            </a:r>
          </a:p>
        </p:txBody>
      </p:sp>
    </p:spTree>
    <p:extLst>
      <p:ext uri="{BB962C8B-B14F-4D97-AF65-F5344CB8AC3E}">
        <p14:creationId xmlns:p14="http://schemas.microsoft.com/office/powerpoint/2010/main" val="217368529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AC8FD35-1EC7-F14A-AE94-2D97C33295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50"/>
          <a:stretch/>
        </p:blipFill>
        <p:spPr>
          <a:xfrm>
            <a:off x="885190" y="1630680"/>
            <a:ext cx="10383520" cy="405765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3B0370-46BB-E54C-9E48-A42217ACC2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TOP 10 MARKETS</a:t>
            </a:r>
          </a:p>
        </p:txBody>
      </p:sp>
    </p:spTree>
    <p:extLst>
      <p:ext uri="{BB962C8B-B14F-4D97-AF65-F5344CB8AC3E}">
        <p14:creationId xmlns:p14="http://schemas.microsoft.com/office/powerpoint/2010/main" val="288396224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2AB1C5EE-344C-9A47-B611-35B583BBDCF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12"/>
          <a:stretch/>
        </p:blipFill>
        <p:spPr>
          <a:xfrm>
            <a:off x="3586480" y="1695497"/>
            <a:ext cx="5019040" cy="402971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1FDAC5-71F8-4940-8BF7-DAE4EB9ED3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COUNTRIES FOR CENTRALIZED PV INSTALLED IN 2021 </a:t>
            </a:r>
          </a:p>
        </p:txBody>
      </p:sp>
    </p:spTree>
    <p:extLst>
      <p:ext uri="{BB962C8B-B14F-4D97-AF65-F5344CB8AC3E}">
        <p14:creationId xmlns:p14="http://schemas.microsoft.com/office/powerpoint/2010/main" val="237531994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C5503A2-1E5E-D74C-98AC-3537917317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COUNTRIES FOR CUMULATIVE CENTRALIZED PV INSTALLED CAPACITY IN 2021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2913828-3CF8-3749-9041-DABB4EF5D4B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65"/>
          <a:stretch/>
        </p:blipFill>
        <p:spPr>
          <a:xfrm>
            <a:off x="3586480" y="1674055"/>
            <a:ext cx="5019040" cy="3994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16144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5E8E19B-AFCC-9646-AF50-7177B078E0D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380"/>
          <a:stretch/>
        </p:blipFill>
        <p:spPr>
          <a:xfrm>
            <a:off x="3586480" y="1737360"/>
            <a:ext cx="5019040" cy="394208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0D1296-97FA-A645-8329-C6B06B3235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COUNTRIES FOR DISTRIBUTED PV INSTALLED IN 2021 </a:t>
            </a:r>
          </a:p>
        </p:txBody>
      </p:sp>
    </p:spTree>
    <p:extLst>
      <p:ext uri="{BB962C8B-B14F-4D97-AF65-F5344CB8AC3E}">
        <p14:creationId xmlns:p14="http://schemas.microsoft.com/office/powerpoint/2010/main" val="124717997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B34EE81-BE1A-1C44-93BB-39E7154C64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COUNTRIES FOR CUMULATIVE DISTRIBUTED PV INSTALLED CAPACITY IN 2021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AABA706-E834-714B-9717-340DD37A03D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97"/>
          <a:stretch/>
        </p:blipFill>
        <p:spPr>
          <a:xfrm>
            <a:off x="3586480" y="1744391"/>
            <a:ext cx="5019040" cy="3927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8131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0AB539-DF0D-FD43-8779-48D6ACC25E1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128" y="1401535"/>
            <a:ext cx="10363200" cy="445008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EB2815-6F59-0B4C-A3BC-088A6AABBB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ANNUAL PV INSTALLATIONS </a:t>
            </a:r>
          </a:p>
        </p:txBody>
      </p:sp>
    </p:spTree>
    <p:extLst>
      <p:ext uri="{BB962C8B-B14F-4D97-AF65-F5344CB8AC3E}">
        <p14:creationId xmlns:p14="http://schemas.microsoft.com/office/powerpoint/2010/main" val="125782889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0B22A9C-A197-2A44-A416-A18CD6143E5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4" b="12667"/>
          <a:stretch/>
        </p:blipFill>
        <p:spPr>
          <a:xfrm>
            <a:off x="3440430" y="1203960"/>
            <a:ext cx="5311140" cy="536051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723257-0218-0645-AA34-29976CF8ED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2021 PV MARKET STATISTICS IN DETAIL</a:t>
            </a:r>
          </a:p>
        </p:txBody>
      </p:sp>
    </p:spTree>
    <p:extLst>
      <p:ext uri="{BB962C8B-B14F-4D97-AF65-F5344CB8AC3E}">
        <p14:creationId xmlns:p14="http://schemas.microsoft.com/office/powerpoint/2010/main" val="411527595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6ACA6E2-C657-1748-B120-4A5E3CF1A3E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898"/>
          <a:stretch/>
        </p:blipFill>
        <p:spPr>
          <a:xfrm>
            <a:off x="845820" y="2164080"/>
            <a:ext cx="10363200" cy="250751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06A6F3-CA16-5A4F-898C-D7FA8566A4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GLOBAL TOP FIVE MANUFACTURERS IN TERMS OF PV CELL/MODULE PRODUCTION AND SHIPMENT VOLUME (2021) </a:t>
            </a:r>
          </a:p>
        </p:txBody>
      </p:sp>
    </p:spTree>
    <p:extLst>
      <p:ext uri="{BB962C8B-B14F-4D97-AF65-F5344CB8AC3E}">
        <p14:creationId xmlns:p14="http://schemas.microsoft.com/office/powerpoint/2010/main" val="1664090875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1E5C02A-FE3D-D447-BEF7-7BB51C9AF14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67"/>
          <a:stretch/>
        </p:blipFill>
        <p:spPr>
          <a:xfrm>
            <a:off x="3440430" y="1203960"/>
            <a:ext cx="5311140" cy="553981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3A75DB-450E-9644-B5FD-04FBC220A8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ACTUAL MODULE PRODUCTION AND PRODUCTION CAPACITIES (MWp) </a:t>
            </a:r>
          </a:p>
        </p:txBody>
      </p:sp>
    </p:spTree>
    <p:extLst>
      <p:ext uri="{BB962C8B-B14F-4D97-AF65-F5344CB8AC3E}">
        <p14:creationId xmlns:p14="http://schemas.microsoft.com/office/powerpoint/2010/main" val="3657417099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A012066-ACA0-D744-8ACE-4EB515B9EB5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18"/>
          <a:stretch/>
        </p:blipFill>
        <p:spPr>
          <a:xfrm>
            <a:off x="3586480" y="1706880"/>
            <a:ext cx="5019040" cy="394208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D38D37-DDDE-2F44-BE31-218A38AE59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 TOP 10 RANKING OF PV BUSINESS VALUES </a:t>
            </a:r>
          </a:p>
        </p:txBody>
      </p:sp>
    </p:spTree>
    <p:extLst>
      <p:ext uri="{BB962C8B-B14F-4D97-AF65-F5344CB8AC3E}">
        <p14:creationId xmlns:p14="http://schemas.microsoft.com/office/powerpoint/2010/main" val="228615968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2EE31A3-3700-B14B-83AC-C64D8A7D344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LOWEST WINNING BIDS IN PV TENDERS FOR UTILTY SCALE PV SYSTE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3CAE371-A5F1-1747-B7E4-EA05CA6B71B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29"/>
          <a:stretch/>
        </p:blipFill>
        <p:spPr>
          <a:xfrm>
            <a:off x="3586480" y="1856935"/>
            <a:ext cx="5019040" cy="352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16144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BEA72BF-B72F-574A-A519-562A4B2E23E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06"/>
          <a:stretch/>
        </p:blipFill>
        <p:spPr>
          <a:xfrm>
            <a:off x="3586480" y="2209800"/>
            <a:ext cx="5019040" cy="2393712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B4E1FE-D727-D94B-97F7-A0F52A25F8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OWEST WINNING BIDS IN PV TENDERS FOR UTILTY SCALE PV SYSTEM PER REGION</a:t>
            </a:r>
          </a:p>
        </p:txBody>
      </p:sp>
    </p:spTree>
    <p:extLst>
      <p:ext uri="{BB962C8B-B14F-4D97-AF65-F5344CB8AC3E}">
        <p14:creationId xmlns:p14="http://schemas.microsoft.com/office/powerpoint/2010/main" val="190434760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26517D3-B4DF-A941-BCF3-4667AD23E39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89"/>
          <a:stretch/>
        </p:blipFill>
        <p:spPr>
          <a:xfrm>
            <a:off x="3440430" y="1112520"/>
            <a:ext cx="5311140" cy="543776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17F706C-1CAF-D644-903B-CD03994A2B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2021 PV ELECTRICITY STATISTICS IN IEA PVPS COUNTRIES</a:t>
            </a:r>
          </a:p>
        </p:txBody>
      </p:sp>
    </p:spTree>
    <p:extLst>
      <p:ext uri="{BB962C8B-B14F-4D97-AF65-F5344CB8AC3E}">
        <p14:creationId xmlns:p14="http://schemas.microsoft.com/office/powerpoint/2010/main" val="3421388923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8ECBC64-7F7A-4043-B0D1-A77172F9532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428"/>
          <a:stretch/>
        </p:blipFill>
        <p:spPr>
          <a:xfrm>
            <a:off x="3900170" y="1051561"/>
            <a:ext cx="4391660" cy="5574071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4EF60-7095-204E-830E-8ECD2F91CE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VERAGE 2021 EXCHANGE RATES </a:t>
            </a:r>
          </a:p>
        </p:txBody>
      </p:sp>
    </p:spTree>
    <p:extLst>
      <p:ext uri="{BB962C8B-B14F-4D97-AF65-F5344CB8AC3E}">
        <p14:creationId xmlns:p14="http://schemas.microsoft.com/office/powerpoint/2010/main" val="157227995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37E6573-F848-8E42-8228-F04E7F757C9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17"/>
          <a:stretch/>
        </p:blipFill>
        <p:spPr>
          <a:xfrm rot="16200000">
            <a:off x="3566054" y="647261"/>
            <a:ext cx="5059893" cy="662330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BFA1F9-03D6-C841-A8AB-005B29675C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9" y="291754"/>
            <a:ext cx="7971362" cy="988406"/>
          </a:xfrm>
        </p:spPr>
        <p:txBody>
          <a:bodyPr/>
          <a:lstStyle/>
          <a:p>
            <a:r>
              <a:rPr lang="en-US" dirty="0"/>
              <a:t>CUMULATIVE INSTALLED PV CAPACITY (MWp) FROM 1992 TO 2021 </a:t>
            </a:r>
          </a:p>
        </p:txBody>
      </p:sp>
    </p:spTree>
    <p:extLst>
      <p:ext uri="{BB962C8B-B14F-4D97-AF65-F5344CB8AC3E}">
        <p14:creationId xmlns:p14="http://schemas.microsoft.com/office/powerpoint/2010/main" val="304198977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67D0A53-62D1-8B4A-9B59-BA7DF142CA0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93"/>
          <a:stretch/>
        </p:blipFill>
        <p:spPr>
          <a:xfrm rot="16200000">
            <a:off x="3548288" y="468181"/>
            <a:ext cx="5095425" cy="6623304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CE3B10-CEA0-2B4F-96FF-38A188270E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NNUAL INSTALLED PV CAPACITY (MWp) FROM 1992 TO 2021 </a:t>
            </a:r>
          </a:p>
        </p:txBody>
      </p:sp>
    </p:spTree>
    <p:extLst>
      <p:ext uri="{BB962C8B-B14F-4D97-AF65-F5344CB8AC3E}">
        <p14:creationId xmlns:p14="http://schemas.microsoft.com/office/powerpoint/2010/main" val="5171129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CE0A97E-4D21-E843-BE9C-9F1CA43D9C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1" y="981531"/>
            <a:ext cx="10363200" cy="532384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5AF0B2-F702-3044-9D90-B137AA3301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MARKET SHARE OF TOP COUNTRIES</a:t>
            </a:r>
          </a:p>
        </p:txBody>
      </p:sp>
    </p:spTree>
    <p:extLst>
      <p:ext uri="{BB962C8B-B14F-4D97-AF65-F5344CB8AC3E}">
        <p14:creationId xmlns:p14="http://schemas.microsoft.com/office/powerpoint/2010/main" val="401163562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EDC1C3B-FF53-8641-A1A3-81F8436A84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830" y="1203960"/>
            <a:ext cx="10383520" cy="512064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FCFA5E5-0A97-3C4F-9981-FB20C9A226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fographic</a:t>
            </a:r>
          </a:p>
        </p:txBody>
      </p:sp>
    </p:spTree>
    <p:extLst>
      <p:ext uri="{BB962C8B-B14F-4D97-AF65-F5344CB8AC3E}">
        <p14:creationId xmlns:p14="http://schemas.microsoft.com/office/powerpoint/2010/main" val="274924333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2D699D1-4E0C-5E4B-86CD-5F39782B71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4130" y="2118360"/>
            <a:ext cx="9367520" cy="292608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CF7274-D444-C647-ABB4-7258A85CC2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fographic</a:t>
            </a:r>
          </a:p>
        </p:txBody>
      </p:sp>
    </p:spTree>
    <p:extLst>
      <p:ext uri="{BB962C8B-B14F-4D97-AF65-F5344CB8AC3E}">
        <p14:creationId xmlns:p14="http://schemas.microsoft.com/office/powerpoint/2010/main" val="319571368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CF7274-D444-C647-ABB4-7258A85CC2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fographi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18D1D5A-C341-904B-BC01-726427EE7B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3250" y="939800"/>
            <a:ext cx="8196580" cy="5796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320102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22576E-4011-7E47-A6C4-0958F38E0F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44" y="2246838"/>
            <a:ext cx="11089217" cy="6929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11E189-6182-DA4D-8819-A4D1CA8A1E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i="0" dirty="0" err="1">
                <a:solidFill>
                  <a:srgbClr val="7F7F7F"/>
                </a:solidFill>
                <a:effectLst/>
                <a:latin typeface="Arial" panose="020B0604020202020204" pitchFamily="34" charset="0"/>
              </a:rPr>
              <a:t>Gaëtan</a:t>
            </a:r>
            <a:r>
              <a:rPr lang="en-US" b="0" i="0" dirty="0">
                <a:solidFill>
                  <a:srgbClr val="7F7F7F"/>
                </a:solidFill>
                <a:effectLst/>
                <a:latin typeface="Arial" panose="020B0604020202020204" pitchFamily="34" charset="0"/>
              </a:rPr>
              <a:t> Masson, T1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241A6D-64B3-374E-B02E-211D558CBF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433" y="3498999"/>
            <a:ext cx="11089216" cy="408912"/>
          </a:xfrm>
        </p:spPr>
        <p:txBody>
          <a:bodyPr/>
          <a:lstStyle/>
          <a:p>
            <a:r>
              <a:rPr lang="en-US" b="0" i="0" dirty="0" err="1">
                <a:solidFill>
                  <a:srgbClr val="7F7F7F"/>
                </a:solidFill>
                <a:effectLst/>
                <a:latin typeface="Arial" panose="020B0604020202020204" pitchFamily="34" charset="0"/>
              </a:rPr>
              <a:t>g.masson@becquerelinstitute.e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774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087C471-41FF-5545-A523-90C144636BF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22"/>
          <a:stretch/>
        </p:blipFill>
        <p:spPr>
          <a:xfrm>
            <a:off x="3097017" y="1536311"/>
            <a:ext cx="5997966" cy="463296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C0FCF6-D86A-F645-9E99-2345B91A42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GLOBAL PV MARKET IN 2021</a:t>
            </a:r>
          </a:p>
        </p:txBody>
      </p:sp>
    </p:spTree>
    <p:extLst>
      <p:ext uri="{BB962C8B-B14F-4D97-AF65-F5344CB8AC3E}">
        <p14:creationId xmlns:p14="http://schemas.microsoft.com/office/powerpoint/2010/main" val="37258530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EE66BD6-3921-8C45-9D9F-6A38722972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UMULATIVE PV CAPACITY END 202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68D85D0-5913-6C4B-88B4-457BCBC83C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5945" y="1530379"/>
            <a:ext cx="5960110" cy="4512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3758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C3C41F8C93DA419011CA00C1AC596E" ma:contentTypeVersion="13" ma:contentTypeDescription="Create a new document." ma:contentTypeScope="" ma:versionID="e3c4d392c70263a3dcdd504088b6bba8">
  <xsd:schema xmlns:xsd="http://www.w3.org/2001/XMLSchema" xmlns:xs="http://www.w3.org/2001/XMLSchema" xmlns:p="http://schemas.microsoft.com/office/2006/metadata/properties" xmlns:ns2="21dc0bbd-a008-4079-8dc7-6c86477d7003" xmlns:ns3="face2710-2a53-4707-9cf7-012212f88544" targetNamespace="http://schemas.microsoft.com/office/2006/metadata/properties" ma:root="true" ma:fieldsID="36c354505b0fefcfb5aaa4e0d52b72d3" ns2:_="" ns3:_="">
    <xsd:import namespace="21dc0bbd-a008-4079-8dc7-6c86477d7003"/>
    <xsd:import namespace="face2710-2a53-4707-9cf7-012212f885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dc0bbd-a008-4079-8dc7-6c86477d70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e2710-2a53-4707-9cf7-012212f8854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8A42BD0-63C7-4EA7-A990-2FE04E7D2D2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AA9570-C409-4B08-A87F-713419B0F61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260D956-79A7-45EC-B376-3765D63BD9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dc0bbd-a008-4079-8dc7-6c86477d7003"/>
    <ds:schemaRef ds:uri="face2710-2a53-4707-9cf7-012212f885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46</Words>
  <Application>Microsoft Office PowerPoint</Application>
  <PresentationFormat>Widescreen</PresentationFormat>
  <Paragraphs>84</Paragraphs>
  <Slides>7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3</vt:i4>
      </vt:variant>
    </vt:vector>
  </HeadingPairs>
  <TitlesOfParts>
    <vt:vector size="81" baseType="lpstr">
      <vt:lpstr>Arial</vt:lpstr>
      <vt:lpstr>Segoe UI</vt:lpstr>
      <vt:lpstr>Arial Nova</vt:lpstr>
      <vt:lpstr>Calibri</vt:lpstr>
      <vt:lpstr>Calibri Light</vt:lpstr>
      <vt:lpstr>Office Theme</vt:lpstr>
      <vt:lpstr>think-cell Slide</vt:lpstr>
      <vt:lpstr>Cli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ina Bosch - Becquerel Institute</dc:creator>
  <cp:lastModifiedBy>Emily Mitchell</cp:lastModifiedBy>
  <cp:revision>12</cp:revision>
  <dcterms:created xsi:type="dcterms:W3CDTF">2022-04-26T11:38:35Z</dcterms:created>
  <dcterms:modified xsi:type="dcterms:W3CDTF">2022-10-04T09:14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C3C41F8C93DA419011CA00C1AC596E</vt:lpwstr>
  </property>
</Properties>
</file>